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0.xml" ContentType="application/vnd.openxmlformats-officedocument.theme+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3.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671" r:id="rId5"/>
    <p:sldMasterId id="2147483698" r:id="rId6"/>
    <p:sldMasterId id="2147483713" r:id="rId7"/>
    <p:sldMasterId id="2147483735" r:id="rId8"/>
    <p:sldMasterId id="2147483755" r:id="rId9"/>
    <p:sldMasterId id="2147483771" r:id="rId10"/>
    <p:sldMasterId id="2147483774" r:id="rId11"/>
    <p:sldMasterId id="2147483777" r:id="rId12"/>
    <p:sldMasterId id="2147483836" r:id="rId13"/>
    <p:sldMasterId id="2147483839" r:id="rId14"/>
    <p:sldMasterId id="2147483847" r:id="rId15"/>
    <p:sldMasterId id="2147483859" r:id="rId16"/>
    <p:sldMasterId id="2147483867" r:id="rId17"/>
  </p:sldMasterIdLst>
  <p:notesMasterIdLst>
    <p:notesMasterId r:id="rId36"/>
  </p:notesMasterIdLst>
  <p:sldIdLst>
    <p:sldId id="2147474380" r:id="rId18"/>
    <p:sldId id="5860" r:id="rId19"/>
    <p:sldId id="10793" r:id="rId20"/>
    <p:sldId id="2147478122" r:id="rId21"/>
    <p:sldId id="2147478087" r:id="rId22"/>
    <p:sldId id="2147478088" r:id="rId23"/>
    <p:sldId id="2147470610" r:id="rId24"/>
    <p:sldId id="5850" r:id="rId25"/>
    <p:sldId id="2147478090" r:id="rId26"/>
    <p:sldId id="2147478119" r:id="rId27"/>
    <p:sldId id="2147478094" r:id="rId28"/>
    <p:sldId id="2147474379" r:id="rId29"/>
    <p:sldId id="2147478112" r:id="rId30"/>
    <p:sldId id="2147478118" r:id="rId31"/>
    <p:sldId id="2147478121" r:id="rId32"/>
    <p:sldId id="2147478115" r:id="rId33"/>
    <p:sldId id="10797" r:id="rId34"/>
    <p:sldId id="214747059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E85E1B-7D47-7EFD-74A9-B1D9D49C5826}" name="Courtney Overbey (MEDC)" initials="CO(" userId="S::overbeyc1@michigan.org::3d089298-48e5-4fdf-b0be-d8ecdb23a33c" providerId="AD"/>
  <p188:author id="{E214ED49-5295-9338-B20A-9B0AE336BF00}" name="Michelle Grinnell (MEDC)" initials="MG(" userId="S::begnochem@michigan.org::dccb534e-532d-4779-8c3d-6a26bb646ea2" providerId="AD"/>
  <p188:author id="{9DC2A675-3E53-28AD-CAC4-F45C073F82D9}" name="Amiee Evans (MEDC)" initials="AE(" userId="S::evansa3@michigan.org::b5f377b2-ed02-4282-bdce-7aae3f9804be" providerId="AD"/>
  <p188:author id="{C4FC34C6-1FEE-B182-FC59-0D164F5FEFEC}" name="Katelyn Crain (MEDC)" initials="KC(" userId="S::craink1@michigan.org::79ba9268-b862-404e-a435-a88b4ce871d3" providerId="AD"/>
  <p188:author id="{372FBAD5-46C6-0BD1-3713-58C33A8D6372}" name="Quentin Messer (MEDC)" initials="QM(" userId="S::messerq@michigan.org::7ec46412-bb71-4f2a-89cb-cd1f1862904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D59"/>
    <a:srgbClr val="002576"/>
    <a:srgbClr val="0B2B6D"/>
    <a:srgbClr val="C88046"/>
    <a:srgbClr val="0C1343"/>
    <a:srgbClr val="D8A77E"/>
    <a:srgbClr val="06286F"/>
    <a:srgbClr val="212D61"/>
    <a:srgbClr val="000000"/>
    <a:srgbClr val="1E26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30" autoAdjust="0"/>
    <p:restoredTop sz="64014" autoAdjust="0"/>
  </p:normalViewPr>
  <p:slideViewPr>
    <p:cSldViewPr snapToGrid="0">
      <p:cViewPr varScale="1">
        <p:scale>
          <a:sx n="72" d="100"/>
          <a:sy n="72" d="100"/>
        </p:scale>
        <p:origin x="2352" y="192"/>
      </p:cViewPr>
      <p:guideLst/>
    </p:cSldViewPr>
  </p:slideViewPr>
  <p:notesTextViewPr>
    <p:cViewPr>
      <p:scale>
        <a:sx n="1" d="1"/>
        <a:sy n="1" d="1"/>
      </p:scale>
      <p:origin x="0" y="0"/>
    </p:cViewPr>
  </p:notesTextViewPr>
  <p:sorterViewPr>
    <p:cViewPr>
      <p:scale>
        <a:sx n="100" d="100"/>
        <a:sy n="100" d="100"/>
      </p:scale>
      <p:origin x="0" y="-9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heme" Target="theme/theme1.xml"/><Relationship Id="rId21" Type="http://schemas.openxmlformats.org/officeDocument/2006/relationships/slide" Target="slides/slide4.xml"/><Relationship Id="rId34" Type="http://schemas.openxmlformats.org/officeDocument/2006/relationships/slide" Target="slides/slide1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099978-EA0C-4E77-9D7D-38ACE2C967B0}"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55C7616A-370D-4A49-A030-AE4E9131E6C3}">
      <dgm:prSet phldrT="[Text]"/>
      <dgm:spPr>
        <a:xfrm>
          <a:off x="3232611" y="1872579"/>
          <a:ext cx="1662777" cy="1673508"/>
        </a:xfrm>
        <a:prstGeom prst="ellipse">
          <a:avLst/>
        </a:prstGeom>
        <a:solidFill>
          <a:srgbClr val="002576"/>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Arial"/>
              <a:ea typeface="+mn-ea"/>
              <a:cs typeface="+mn-cs"/>
            </a:rPr>
            <a:t>MEDC &amp; Core Partners, Steering Committee</a:t>
          </a:r>
        </a:p>
      </dgm:t>
    </dgm:pt>
    <dgm:pt modelId="{72E06A5F-3EF5-4D9A-BFCD-B38B64DD671B}" type="parTrans" cxnId="{09D0FDA9-4329-4692-BD43-B7012F47C93D}">
      <dgm:prSet/>
      <dgm:spPr/>
      <dgm:t>
        <a:bodyPr/>
        <a:lstStyle/>
        <a:p>
          <a:endParaRPr lang="en-US"/>
        </a:p>
      </dgm:t>
    </dgm:pt>
    <dgm:pt modelId="{07F67D59-551A-44A1-ABBD-17780C4B59F2}" type="sibTrans" cxnId="{09D0FDA9-4329-4692-BD43-B7012F47C93D}">
      <dgm:prSet/>
      <dgm:spPr/>
      <dgm:t>
        <a:bodyPr/>
        <a:lstStyle/>
        <a:p>
          <a:endParaRPr lang="en-US"/>
        </a:p>
      </dgm:t>
    </dgm:pt>
    <dgm:pt modelId="{5A5DADA2-373E-4757-8951-3A6687D2D954}">
      <dgm:prSet phldrT="[Text]"/>
      <dgm:spPr>
        <a:xfrm>
          <a:off x="5001066" y="991295"/>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EDO’s</a:t>
          </a:r>
        </a:p>
      </dgm:t>
    </dgm:pt>
    <dgm:pt modelId="{529590E5-F361-4245-B730-271475EE7B9F}" type="parTrans" cxnId="{D6EF7761-064F-498B-AC18-626321F1C399}">
      <dgm:prSet/>
      <dgm:spPr>
        <a:xfrm rot="19800000">
          <a:off x="4760723" y="2185260"/>
          <a:ext cx="364748"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814E2BD4-ED8B-49A0-8C80-F7C762018616}" type="sibTrans" cxnId="{D6EF7761-064F-498B-AC18-626321F1C399}">
      <dgm:prSet/>
      <dgm:spPr/>
      <dgm:t>
        <a:bodyPr/>
        <a:lstStyle/>
        <a:p>
          <a:endParaRPr lang="en-US"/>
        </a:p>
      </dgm:t>
    </dgm:pt>
    <dgm:pt modelId="{9CB4EFE4-4DD9-4897-9C67-71EEBE39C14A}">
      <dgm:prSet phldrT="[Text]"/>
      <dgm:spPr>
        <a:xfrm>
          <a:off x="1634528" y="2934966"/>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CDFI’s, Banks &amp; Credit Unions</a:t>
          </a:r>
        </a:p>
      </dgm:t>
    </dgm:pt>
    <dgm:pt modelId="{50A39FCF-A6D8-4E01-8BDE-56BC52582E11}" type="parTrans" cxnId="{8CD96340-E940-4B7B-8F69-24AAAA290958}">
      <dgm:prSet/>
      <dgm:spPr>
        <a:xfrm rot="9000000">
          <a:off x="3002527" y="3200355"/>
          <a:ext cx="364748"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728681AF-B432-4431-AA69-96F5CEE19B2E}" type="sibTrans" cxnId="{8CD96340-E940-4B7B-8F69-24AAAA290958}">
      <dgm:prSet/>
      <dgm:spPr/>
      <dgm:t>
        <a:bodyPr/>
        <a:lstStyle/>
        <a:p>
          <a:endParaRPr lang="en-US"/>
        </a:p>
      </dgm:t>
    </dgm:pt>
    <dgm:pt modelId="{B388B15C-0A1C-498B-B5D2-E21AA84494F0}">
      <dgm:prSet phldrT="[Text]"/>
      <dgm:spPr>
        <a:xfrm>
          <a:off x="1634528" y="991295"/>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DDA / Community Organizations</a:t>
          </a:r>
        </a:p>
      </dgm:t>
    </dgm:pt>
    <dgm:pt modelId="{EAEA3C8E-32F2-4617-B51F-D29E0271EC7B}" type="parTrans" cxnId="{4F4375C6-1445-43A8-B6AF-96A3C9D42AC1}">
      <dgm:prSet/>
      <dgm:spPr>
        <a:xfrm rot="12600000">
          <a:off x="3002527" y="2185260"/>
          <a:ext cx="364748"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859829AA-DFDA-410C-92C0-8C6572CDB1CB}" type="sibTrans" cxnId="{4F4375C6-1445-43A8-B6AF-96A3C9D42AC1}">
      <dgm:prSet/>
      <dgm:spPr/>
      <dgm:t>
        <a:bodyPr/>
        <a:lstStyle/>
        <a:p>
          <a:endParaRPr lang="en-US"/>
        </a:p>
      </dgm:t>
    </dgm:pt>
    <dgm:pt modelId="{E2F38A89-6C17-49FC-962B-3DA4913E0731}">
      <dgm:prSet phldrT="[Text]"/>
      <dgm:spPr>
        <a:xfrm>
          <a:off x="3317797" y="3906802"/>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Professional Service Firms</a:t>
          </a:r>
        </a:p>
      </dgm:t>
    </dgm:pt>
    <dgm:pt modelId="{AD72B36A-3D94-45BD-A0C5-8143964FA6B0}" type="sibTrans" cxnId="{7CDF1D59-78A1-45DD-A207-7879224FE726}">
      <dgm:prSet/>
      <dgm:spPr/>
      <dgm:t>
        <a:bodyPr/>
        <a:lstStyle/>
        <a:p>
          <a:endParaRPr lang="en-US"/>
        </a:p>
      </dgm:t>
    </dgm:pt>
    <dgm:pt modelId="{6CBF1CAD-7C4D-4FFB-98F4-6392E366C791}" type="parTrans" cxnId="{7CDF1D59-78A1-45DD-A207-7879224FE726}">
      <dgm:prSet/>
      <dgm:spPr>
        <a:xfrm rot="5400000">
          <a:off x="3883642" y="3709919"/>
          <a:ext cx="360714" cy="33050"/>
        </a:xfrm>
        <a:custGeom>
          <a:avLst/>
          <a:gdLst/>
          <a:ahLst/>
          <a:cxnLst/>
          <a:rect l="0" t="0" r="0" b="0"/>
          <a:pathLst>
            <a:path>
              <a:moveTo>
                <a:pt x="0" y="16525"/>
              </a:moveTo>
              <a:lnTo>
                <a:pt x="360714"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30EC6F0D-CBB8-461E-81CB-5075C2F8E3EA}">
      <dgm:prSet phldrT="[Text]"/>
      <dgm:spPr>
        <a:xfrm>
          <a:off x="3317797" y="19459"/>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Business Service Organizations</a:t>
          </a:r>
        </a:p>
      </dgm:t>
    </dgm:pt>
    <dgm:pt modelId="{12DBB966-F344-4D2C-B110-CDD4BD7F1E61}" type="parTrans" cxnId="{88760CC7-13C1-44FF-B2D5-4AB72A75FF8D}">
      <dgm:prSet/>
      <dgm:spPr>
        <a:xfrm rot="16200000">
          <a:off x="3883642" y="1675696"/>
          <a:ext cx="360714" cy="33050"/>
        </a:xfrm>
        <a:custGeom>
          <a:avLst/>
          <a:gdLst/>
          <a:ahLst/>
          <a:cxnLst/>
          <a:rect l="0" t="0" r="0" b="0"/>
          <a:pathLst>
            <a:path>
              <a:moveTo>
                <a:pt x="0" y="16525"/>
              </a:moveTo>
              <a:lnTo>
                <a:pt x="360714"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DC69D876-3D6C-42A7-B664-691E17310515}" type="sibTrans" cxnId="{88760CC7-13C1-44FF-B2D5-4AB72A75FF8D}">
      <dgm:prSet/>
      <dgm:spPr/>
      <dgm:t>
        <a:bodyPr/>
        <a:lstStyle/>
        <a:p>
          <a:endParaRPr lang="en-US"/>
        </a:p>
      </dgm:t>
    </dgm:pt>
    <dgm:pt modelId="{9FBE3C7D-2FDD-4037-9508-C815F23BEC21}">
      <dgm:prSet phldrT="[Text]"/>
      <dgm:spPr>
        <a:xfrm>
          <a:off x="5001066" y="2934966"/>
          <a:ext cx="1492405" cy="1492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1" dirty="0">
              <a:solidFill>
                <a:srgbClr val="002576"/>
              </a:solidFill>
              <a:latin typeface="Arial"/>
              <a:ea typeface="+mn-ea"/>
              <a:cs typeface="+mn-cs"/>
            </a:rPr>
            <a:t>SmartZones</a:t>
          </a:r>
        </a:p>
      </dgm:t>
    </dgm:pt>
    <dgm:pt modelId="{4C550FF1-3952-4483-B053-EE219FF70F3F}" type="parTrans" cxnId="{68D0085C-EA77-4E1D-A038-9E3CA2518391}">
      <dgm:prSet/>
      <dgm:spPr>
        <a:xfrm rot="1800000">
          <a:off x="4760723" y="3200355"/>
          <a:ext cx="364748"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gm:spPr>
      <dgm:t>
        <a:bodyPr/>
        <a:lstStyle/>
        <a:p>
          <a:pPr>
            <a:buNone/>
          </a:pPr>
          <a:endParaRPr lang="en-US" dirty="0">
            <a:solidFill>
              <a:sysClr val="windowText" lastClr="000000">
                <a:hueOff val="0"/>
                <a:satOff val="0"/>
                <a:lumOff val="0"/>
                <a:alphaOff val="0"/>
              </a:sysClr>
            </a:solidFill>
            <a:latin typeface="Arial"/>
            <a:ea typeface="+mn-ea"/>
            <a:cs typeface="+mn-cs"/>
          </a:endParaRPr>
        </a:p>
      </dgm:t>
    </dgm:pt>
    <dgm:pt modelId="{58F73CB6-367E-408D-B427-CB43F1559C57}" type="sibTrans" cxnId="{68D0085C-EA77-4E1D-A038-9E3CA2518391}">
      <dgm:prSet/>
      <dgm:spPr/>
      <dgm:t>
        <a:bodyPr/>
        <a:lstStyle/>
        <a:p>
          <a:endParaRPr lang="en-US"/>
        </a:p>
      </dgm:t>
    </dgm:pt>
    <dgm:pt modelId="{CC1E0D94-525A-46F9-A8F9-77E71CE0CF42}" type="pres">
      <dgm:prSet presAssocID="{B6099978-EA0C-4E77-9D7D-38ACE2C967B0}" presName="cycle" presStyleCnt="0">
        <dgm:presLayoutVars>
          <dgm:chMax val="1"/>
          <dgm:dir/>
          <dgm:animLvl val="ctr"/>
          <dgm:resizeHandles val="exact"/>
        </dgm:presLayoutVars>
      </dgm:prSet>
      <dgm:spPr/>
    </dgm:pt>
    <dgm:pt modelId="{5F12D1A4-0C94-433F-991A-18D8A12CCA03}" type="pres">
      <dgm:prSet presAssocID="{55C7616A-370D-4A49-A030-AE4E9131E6C3}" presName="centerShape" presStyleLbl="node0" presStyleIdx="0" presStyleCnt="1" custScaleX="111416" custScaleY="112135"/>
      <dgm:spPr/>
    </dgm:pt>
    <dgm:pt modelId="{D2217358-7A6D-4F66-B6C9-E16752FA6AF0}" type="pres">
      <dgm:prSet presAssocID="{12DBB966-F344-4D2C-B110-CDD4BD7F1E61}" presName="Name9" presStyleLbl="parChTrans1D2" presStyleIdx="0" presStyleCnt="6"/>
      <dgm:spPr/>
    </dgm:pt>
    <dgm:pt modelId="{D5C827A8-D3C1-4493-AB7F-8F4981CCA1F4}" type="pres">
      <dgm:prSet presAssocID="{12DBB966-F344-4D2C-B110-CDD4BD7F1E61}" presName="connTx" presStyleLbl="parChTrans1D2" presStyleIdx="0" presStyleCnt="6"/>
      <dgm:spPr/>
    </dgm:pt>
    <dgm:pt modelId="{D4EBDD57-1FE4-4F82-8A54-A93163AD4B4A}" type="pres">
      <dgm:prSet presAssocID="{30EC6F0D-CBB8-461E-81CB-5075C2F8E3EA}" presName="node" presStyleLbl="node1" presStyleIdx="0" presStyleCnt="6">
        <dgm:presLayoutVars>
          <dgm:bulletEnabled val="1"/>
        </dgm:presLayoutVars>
      </dgm:prSet>
      <dgm:spPr/>
    </dgm:pt>
    <dgm:pt modelId="{0F6F4236-3C15-4CDA-9644-1505B3875338}" type="pres">
      <dgm:prSet presAssocID="{529590E5-F361-4245-B730-271475EE7B9F}" presName="Name9" presStyleLbl="parChTrans1D2" presStyleIdx="1" presStyleCnt="6"/>
      <dgm:spPr/>
    </dgm:pt>
    <dgm:pt modelId="{F16DA949-9698-495E-9616-9D7145431BA1}" type="pres">
      <dgm:prSet presAssocID="{529590E5-F361-4245-B730-271475EE7B9F}" presName="connTx" presStyleLbl="parChTrans1D2" presStyleIdx="1" presStyleCnt="6"/>
      <dgm:spPr/>
    </dgm:pt>
    <dgm:pt modelId="{09CC6E7A-754D-4F59-A3C6-D744767F14D2}" type="pres">
      <dgm:prSet presAssocID="{5A5DADA2-373E-4757-8951-3A6687D2D954}" presName="node" presStyleLbl="node1" presStyleIdx="1" presStyleCnt="6">
        <dgm:presLayoutVars>
          <dgm:bulletEnabled val="1"/>
        </dgm:presLayoutVars>
      </dgm:prSet>
      <dgm:spPr/>
    </dgm:pt>
    <dgm:pt modelId="{33E8B764-FA50-4D9A-92C4-019E9E1A235B}" type="pres">
      <dgm:prSet presAssocID="{4C550FF1-3952-4483-B053-EE219FF70F3F}" presName="Name9" presStyleLbl="parChTrans1D2" presStyleIdx="2" presStyleCnt="6"/>
      <dgm:spPr/>
    </dgm:pt>
    <dgm:pt modelId="{CEA6E162-4265-4187-A413-9D32F3300A98}" type="pres">
      <dgm:prSet presAssocID="{4C550FF1-3952-4483-B053-EE219FF70F3F}" presName="connTx" presStyleLbl="parChTrans1D2" presStyleIdx="2" presStyleCnt="6"/>
      <dgm:spPr/>
    </dgm:pt>
    <dgm:pt modelId="{4C4E9582-A1F3-4C88-A504-63ED52D41AA9}" type="pres">
      <dgm:prSet presAssocID="{9FBE3C7D-2FDD-4037-9508-C815F23BEC21}" presName="node" presStyleLbl="node1" presStyleIdx="2" presStyleCnt="6">
        <dgm:presLayoutVars>
          <dgm:bulletEnabled val="1"/>
        </dgm:presLayoutVars>
      </dgm:prSet>
      <dgm:spPr/>
    </dgm:pt>
    <dgm:pt modelId="{5342B18D-E96F-46D9-AD20-F155DA9A9E9C}" type="pres">
      <dgm:prSet presAssocID="{6CBF1CAD-7C4D-4FFB-98F4-6392E366C791}" presName="Name9" presStyleLbl="parChTrans1D2" presStyleIdx="3" presStyleCnt="6"/>
      <dgm:spPr/>
    </dgm:pt>
    <dgm:pt modelId="{9C4D1AA8-8501-45A1-BF3A-F836FB894E5C}" type="pres">
      <dgm:prSet presAssocID="{6CBF1CAD-7C4D-4FFB-98F4-6392E366C791}" presName="connTx" presStyleLbl="parChTrans1D2" presStyleIdx="3" presStyleCnt="6"/>
      <dgm:spPr/>
    </dgm:pt>
    <dgm:pt modelId="{CAAA22BE-40A2-48E2-B821-5DB610EB7EDF}" type="pres">
      <dgm:prSet presAssocID="{E2F38A89-6C17-49FC-962B-3DA4913E0731}" presName="node" presStyleLbl="node1" presStyleIdx="3" presStyleCnt="6">
        <dgm:presLayoutVars>
          <dgm:bulletEnabled val="1"/>
        </dgm:presLayoutVars>
      </dgm:prSet>
      <dgm:spPr/>
    </dgm:pt>
    <dgm:pt modelId="{C25C5C5D-B844-4CAE-A0FA-0E5CB5B8FAFF}" type="pres">
      <dgm:prSet presAssocID="{50A39FCF-A6D8-4E01-8BDE-56BC52582E11}" presName="Name9" presStyleLbl="parChTrans1D2" presStyleIdx="4" presStyleCnt="6"/>
      <dgm:spPr/>
    </dgm:pt>
    <dgm:pt modelId="{F7E887EC-7B66-4722-B06D-4F0CA7624028}" type="pres">
      <dgm:prSet presAssocID="{50A39FCF-A6D8-4E01-8BDE-56BC52582E11}" presName="connTx" presStyleLbl="parChTrans1D2" presStyleIdx="4" presStyleCnt="6"/>
      <dgm:spPr/>
    </dgm:pt>
    <dgm:pt modelId="{FA1B48FA-5B65-4EF6-ADC7-6C647BA9855B}" type="pres">
      <dgm:prSet presAssocID="{9CB4EFE4-4DD9-4897-9C67-71EEBE39C14A}" presName="node" presStyleLbl="node1" presStyleIdx="4" presStyleCnt="6">
        <dgm:presLayoutVars>
          <dgm:bulletEnabled val="1"/>
        </dgm:presLayoutVars>
      </dgm:prSet>
      <dgm:spPr/>
    </dgm:pt>
    <dgm:pt modelId="{90EDFE81-A5BD-4221-8FCD-66F0A01681BA}" type="pres">
      <dgm:prSet presAssocID="{EAEA3C8E-32F2-4617-B51F-D29E0271EC7B}" presName="Name9" presStyleLbl="parChTrans1D2" presStyleIdx="5" presStyleCnt="6"/>
      <dgm:spPr/>
    </dgm:pt>
    <dgm:pt modelId="{69F0790C-A54E-491C-B79B-5DBC3BCD243A}" type="pres">
      <dgm:prSet presAssocID="{EAEA3C8E-32F2-4617-B51F-D29E0271EC7B}" presName="connTx" presStyleLbl="parChTrans1D2" presStyleIdx="5" presStyleCnt="6"/>
      <dgm:spPr/>
    </dgm:pt>
    <dgm:pt modelId="{D4EF9A7F-59A9-4FB9-9C62-984C243E648E}" type="pres">
      <dgm:prSet presAssocID="{B388B15C-0A1C-498B-B5D2-E21AA84494F0}" presName="node" presStyleLbl="node1" presStyleIdx="5" presStyleCnt="6">
        <dgm:presLayoutVars>
          <dgm:bulletEnabled val="1"/>
        </dgm:presLayoutVars>
      </dgm:prSet>
      <dgm:spPr/>
    </dgm:pt>
  </dgm:ptLst>
  <dgm:cxnLst>
    <dgm:cxn modelId="{B229C201-C03B-4784-BB96-17C4FB7CF5EB}" type="presOf" srcId="{9FBE3C7D-2FDD-4037-9508-C815F23BEC21}" destId="{4C4E9582-A1F3-4C88-A504-63ED52D41AA9}" srcOrd="0" destOrd="0" presId="urn:microsoft.com/office/officeart/2005/8/layout/radial1"/>
    <dgm:cxn modelId="{6F179A29-9561-4B85-B3D3-EBB5D6ABFBD6}" type="presOf" srcId="{12DBB966-F344-4D2C-B110-CDD4BD7F1E61}" destId="{D2217358-7A6D-4F66-B6C9-E16752FA6AF0}" srcOrd="0" destOrd="0" presId="urn:microsoft.com/office/officeart/2005/8/layout/radial1"/>
    <dgm:cxn modelId="{349FC33E-B601-43FD-B1C7-B71C85FE3263}" type="presOf" srcId="{4C550FF1-3952-4483-B053-EE219FF70F3F}" destId="{CEA6E162-4265-4187-A413-9D32F3300A98}" srcOrd="1" destOrd="0" presId="urn:microsoft.com/office/officeart/2005/8/layout/radial1"/>
    <dgm:cxn modelId="{8CD96340-E940-4B7B-8F69-24AAAA290958}" srcId="{55C7616A-370D-4A49-A030-AE4E9131E6C3}" destId="{9CB4EFE4-4DD9-4897-9C67-71EEBE39C14A}" srcOrd="4" destOrd="0" parTransId="{50A39FCF-A6D8-4E01-8BDE-56BC52582E11}" sibTransId="{728681AF-B432-4431-AA69-96F5CEE19B2E}"/>
    <dgm:cxn modelId="{7CDF1D59-78A1-45DD-A207-7879224FE726}" srcId="{55C7616A-370D-4A49-A030-AE4E9131E6C3}" destId="{E2F38A89-6C17-49FC-962B-3DA4913E0731}" srcOrd="3" destOrd="0" parTransId="{6CBF1CAD-7C4D-4FFB-98F4-6392E366C791}" sibTransId="{AD72B36A-3D94-45BD-A0C5-8143964FA6B0}"/>
    <dgm:cxn modelId="{FB87BB59-074D-4230-B763-CD8D6875D819}" type="presOf" srcId="{55C7616A-370D-4A49-A030-AE4E9131E6C3}" destId="{5F12D1A4-0C94-433F-991A-18D8A12CCA03}" srcOrd="0" destOrd="0" presId="urn:microsoft.com/office/officeart/2005/8/layout/radial1"/>
    <dgm:cxn modelId="{63DD5B5B-67B5-43F6-8906-45B605F7675B}" type="presOf" srcId="{50A39FCF-A6D8-4E01-8BDE-56BC52582E11}" destId="{C25C5C5D-B844-4CAE-A0FA-0E5CB5B8FAFF}" srcOrd="0" destOrd="0" presId="urn:microsoft.com/office/officeart/2005/8/layout/radial1"/>
    <dgm:cxn modelId="{68D0085C-EA77-4E1D-A038-9E3CA2518391}" srcId="{55C7616A-370D-4A49-A030-AE4E9131E6C3}" destId="{9FBE3C7D-2FDD-4037-9508-C815F23BEC21}" srcOrd="2" destOrd="0" parTransId="{4C550FF1-3952-4483-B053-EE219FF70F3F}" sibTransId="{58F73CB6-367E-408D-B427-CB43F1559C57}"/>
    <dgm:cxn modelId="{D6EF7761-064F-498B-AC18-626321F1C399}" srcId="{55C7616A-370D-4A49-A030-AE4E9131E6C3}" destId="{5A5DADA2-373E-4757-8951-3A6687D2D954}" srcOrd="1" destOrd="0" parTransId="{529590E5-F361-4245-B730-271475EE7B9F}" sibTransId="{814E2BD4-ED8B-49A0-8C80-F7C762018616}"/>
    <dgm:cxn modelId="{339F6371-76AB-44D5-9305-C00310F997C5}" type="presOf" srcId="{50A39FCF-A6D8-4E01-8BDE-56BC52582E11}" destId="{F7E887EC-7B66-4722-B06D-4F0CA7624028}" srcOrd="1" destOrd="0" presId="urn:microsoft.com/office/officeart/2005/8/layout/radial1"/>
    <dgm:cxn modelId="{992EDC7A-830C-41BD-A562-5E5875ED2363}" type="presOf" srcId="{6CBF1CAD-7C4D-4FFB-98F4-6392E366C791}" destId="{5342B18D-E96F-46D9-AD20-F155DA9A9E9C}" srcOrd="0" destOrd="0" presId="urn:microsoft.com/office/officeart/2005/8/layout/radial1"/>
    <dgm:cxn modelId="{FF837787-F0E6-4871-AC80-EA89F017F7A8}" type="presOf" srcId="{B6099978-EA0C-4E77-9D7D-38ACE2C967B0}" destId="{CC1E0D94-525A-46F9-A8F9-77E71CE0CF42}" srcOrd="0" destOrd="0" presId="urn:microsoft.com/office/officeart/2005/8/layout/radial1"/>
    <dgm:cxn modelId="{A5D8018C-CDAC-4BE4-BE8E-9DD9A40C8A9A}" type="presOf" srcId="{EAEA3C8E-32F2-4617-B51F-D29E0271EC7B}" destId="{69F0790C-A54E-491C-B79B-5DBC3BCD243A}" srcOrd="1" destOrd="0" presId="urn:microsoft.com/office/officeart/2005/8/layout/radial1"/>
    <dgm:cxn modelId="{6E6FB990-46F3-4B20-BE21-618AE1F92586}" type="presOf" srcId="{529590E5-F361-4245-B730-271475EE7B9F}" destId="{F16DA949-9698-495E-9616-9D7145431BA1}" srcOrd="1" destOrd="0" presId="urn:microsoft.com/office/officeart/2005/8/layout/radial1"/>
    <dgm:cxn modelId="{8EF1D59F-B4C1-4D6A-A45A-CC025CE8E0C7}" type="presOf" srcId="{6CBF1CAD-7C4D-4FFB-98F4-6392E366C791}" destId="{9C4D1AA8-8501-45A1-BF3A-F836FB894E5C}" srcOrd="1" destOrd="0" presId="urn:microsoft.com/office/officeart/2005/8/layout/radial1"/>
    <dgm:cxn modelId="{C800A3A3-6EB0-451F-99B0-0DD6AA7EAF72}" type="presOf" srcId="{5A5DADA2-373E-4757-8951-3A6687D2D954}" destId="{09CC6E7A-754D-4F59-A3C6-D744767F14D2}" srcOrd="0" destOrd="0" presId="urn:microsoft.com/office/officeart/2005/8/layout/radial1"/>
    <dgm:cxn modelId="{09D0FDA9-4329-4692-BD43-B7012F47C93D}" srcId="{B6099978-EA0C-4E77-9D7D-38ACE2C967B0}" destId="{55C7616A-370D-4A49-A030-AE4E9131E6C3}" srcOrd="0" destOrd="0" parTransId="{72E06A5F-3EF5-4D9A-BFCD-B38B64DD671B}" sibTransId="{07F67D59-551A-44A1-ABBD-17780C4B59F2}"/>
    <dgm:cxn modelId="{6D2C13B9-BFB7-413F-AB12-F3AC4A6D77CA}" type="presOf" srcId="{4C550FF1-3952-4483-B053-EE219FF70F3F}" destId="{33E8B764-FA50-4D9A-92C4-019E9E1A235B}" srcOrd="0" destOrd="0" presId="urn:microsoft.com/office/officeart/2005/8/layout/radial1"/>
    <dgm:cxn modelId="{AA08FFBE-7B0D-4394-9BD1-40B4815670BC}" type="presOf" srcId="{B388B15C-0A1C-498B-B5D2-E21AA84494F0}" destId="{D4EF9A7F-59A9-4FB9-9C62-984C243E648E}" srcOrd="0" destOrd="0" presId="urn:microsoft.com/office/officeart/2005/8/layout/radial1"/>
    <dgm:cxn modelId="{4F4375C6-1445-43A8-B6AF-96A3C9D42AC1}" srcId="{55C7616A-370D-4A49-A030-AE4E9131E6C3}" destId="{B388B15C-0A1C-498B-B5D2-E21AA84494F0}" srcOrd="5" destOrd="0" parTransId="{EAEA3C8E-32F2-4617-B51F-D29E0271EC7B}" sibTransId="{859829AA-DFDA-410C-92C0-8C6572CDB1CB}"/>
    <dgm:cxn modelId="{88760CC7-13C1-44FF-B2D5-4AB72A75FF8D}" srcId="{55C7616A-370D-4A49-A030-AE4E9131E6C3}" destId="{30EC6F0D-CBB8-461E-81CB-5075C2F8E3EA}" srcOrd="0" destOrd="0" parTransId="{12DBB966-F344-4D2C-B110-CDD4BD7F1E61}" sibTransId="{DC69D876-3D6C-42A7-B664-691E17310515}"/>
    <dgm:cxn modelId="{5D3C14D1-8C5F-466C-8E6D-F5A0C9159EE4}" type="presOf" srcId="{529590E5-F361-4245-B730-271475EE7B9F}" destId="{0F6F4236-3C15-4CDA-9644-1505B3875338}" srcOrd="0" destOrd="0" presId="urn:microsoft.com/office/officeart/2005/8/layout/radial1"/>
    <dgm:cxn modelId="{F9D92EE5-258E-42AB-9753-B2E92B0319DA}" type="presOf" srcId="{EAEA3C8E-32F2-4617-B51F-D29E0271EC7B}" destId="{90EDFE81-A5BD-4221-8FCD-66F0A01681BA}" srcOrd="0" destOrd="0" presId="urn:microsoft.com/office/officeart/2005/8/layout/radial1"/>
    <dgm:cxn modelId="{5F0739EB-CE04-439E-B091-FCFACD821F2D}" type="presOf" srcId="{E2F38A89-6C17-49FC-962B-3DA4913E0731}" destId="{CAAA22BE-40A2-48E2-B821-5DB610EB7EDF}" srcOrd="0" destOrd="0" presId="urn:microsoft.com/office/officeart/2005/8/layout/radial1"/>
    <dgm:cxn modelId="{52F684ED-1261-488A-B4FC-3F4FFE023D41}" type="presOf" srcId="{12DBB966-F344-4D2C-B110-CDD4BD7F1E61}" destId="{D5C827A8-D3C1-4493-AB7F-8F4981CCA1F4}" srcOrd="1" destOrd="0" presId="urn:microsoft.com/office/officeart/2005/8/layout/radial1"/>
    <dgm:cxn modelId="{DE5B61EE-9A93-42C5-8C79-5749986EC6FD}" type="presOf" srcId="{9CB4EFE4-4DD9-4897-9C67-71EEBE39C14A}" destId="{FA1B48FA-5B65-4EF6-ADC7-6C647BA9855B}" srcOrd="0" destOrd="0" presId="urn:microsoft.com/office/officeart/2005/8/layout/radial1"/>
    <dgm:cxn modelId="{29718BF5-4A1F-4651-9F76-B51C1B8E4371}" type="presOf" srcId="{30EC6F0D-CBB8-461E-81CB-5075C2F8E3EA}" destId="{D4EBDD57-1FE4-4F82-8A54-A93163AD4B4A}" srcOrd="0" destOrd="0" presId="urn:microsoft.com/office/officeart/2005/8/layout/radial1"/>
    <dgm:cxn modelId="{37DBAF55-B223-4284-846A-F6C43D95FC39}" type="presParOf" srcId="{CC1E0D94-525A-46F9-A8F9-77E71CE0CF42}" destId="{5F12D1A4-0C94-433F-991A-18D8A12CCA03}" srcOrd="0" destOrd="0" presId="urn:microsoft.com/office/officeart/2005/8/layout/radial1"/>
    <dgm:cxn modelId="{13C925C3-2803-43E8-8921-F77D754F5465}" type="presParOf" srcId="{CC1E0D94-525A-46F9-A8F9-77E71CE0CF42}" destId="{D2217358-7A6D-4F66-B6C9-E16752FA6AF0}" srcOrd="1" destOrd="0" presId="urn:microsoft.com/office/officeart/2005/8/layout/radial1"/>
    <dgm:cxn modelId="{D96F850A-7BB6-487E-AC76-CFB6206D33D7}" type="presParOf" srcId="{D2217358-7A6D-4F66-B6C9-E16752FA6AF0}" destId="{D5C827A8-D3C1-4493-AB7F-8F4981CCA1F4}" srcOrd="0" destOrd="0" presId="urn:microsoft.com/office/officeart/2005/8/layout/radial1"/>
    <dgm:cxn modelId="{1AD5AE61-C983-46EF-9BD4-1BF89469743C}" type="presParOf" srcId="{CC1E0D94-525A-46F9-A8F9-77E71CE0CF42}" destId="{D4EBDD57-1FE4-4F82-8A54-A93163AD4B4A}" srcOrd="2" destOrd="0" presId="urn:microsoft.com/office/officeart/2005/8/layout/radial1"/>
    <dgm:cxn modelId="{FC6A4760-5692-41CE-8958-1CCD2DFAFD3E}" type="presParOf" srcId="{CC1E0D94-525A-46F9-A8F9-77E71CE0CF42}" destId="{0F6F4236-3C15-4CDA-9644-1505B3875338}" srcOrd="3" destOrd="0" presId="urn:microsoft.com/office/officeart/2005/8/layout/radial1"/>
    <dgm:cxn modelId="{BAB4DD5A-4600-4F7E-8575-BF74AA7FA437}" type="presParOf" srcId="{0F6F4236-3C15-4CDA-9644-1505B3875338}" destId="{F16DA949-9698-495E-9616-9D7145431BA1}" srcOrd="0" destOrd="0" presId="urn:microsoft.com/office/officeart/2005/8/layout/radial1"/>
    <dgm:cxn modelId="{FB76BDD4-82DB-43D1-8278-A4641288459C}" type="presParOf" srcId="{CC1E0D94-525A-46F9-A8F9-77E71CE0CF42}" destId="{09CC6E7A-754D-4F59-A3C6-D744767F14D2}" srcOrd="4" destOrd="0" presId="urn:microsoft.com/office/officeart/2005/8/layout/radial1"/>
    <dgm:cxn modelId="{2908B6A2-38EA-465C-91D5-2E6AEAE682C3}" type="presParOf" srcId="{CC1E0D94-525A-46F9-A8F9-77E71CE0CF42}" destId="{33E8B764-FA50-4D9A-92C4-019E9E1A235B}" srcOrd="5" destOrd="0" presId="urn:microsoft.com/office/officeart/2005/8/layout/radial1"/>
    <dgm:cxn modelId="{92ED5001-F19E-492E-9D8B-368D708F4605}" type="presParOf" srcId="{33E8B764-FA50-4D9A-92C4-019E9E1A235B}" destId="{CEA6E162-4265-4187-A413-9D32F3300A98}" srcOrd="0" destOrd="0" presId="urn:microsoft.com/office/officeart/2005/8/layout/radial1"/>
    <dgm:cxn modelId="{0A56BB6E-7221-4EC6-838E-A1C8ADA2F54A}" type="presParOf" srcId="{CC1E0D94-525A-46F9-A8F9-77E71CE0CF42}" destId="{4C4E9582-A1F3-4C88-A504-63ED52D41AA9}" srcOrd="6" destOrd="0" presId="urn:microsoft.com/office/officeart/2005/8/layout/radial1"/>
    <dgm:cxn modelId="{FF599B63-BD19-4345-A3B6-F59BD47EC684}" type="presParOf" srcId="{CC1E0D94-525A-46F9-A8F9-77E71CE0CF42}" destId="{5342B18D-E96F-46D9-AD20-F155DA9A9E9C}" srcOrd="7" destOrd="0" presId="urn:microsoft.com/office/officeart/2005/8/layout/radial1"/>
    <dgm:cxn modelId="{B15AC12F-EEBB-4DAA-82DE-F3B5F6938C31}" type="presParOf" srcId="{5342B18D-E96F-46D9-AD20-F155DA9A9E9C}" destId="{9C4D1AA8-8501-45A1-BF3A-F836FB894E5C}" srcOrd="0" destOrd="0" presId="urn:microsoft.com/office/officeart/2005/8/layout/radial1"/>
    <dgm:cxn modelId="{4E6D0263-8EEB-4DA5-8218-1F49DFC8A599}" type="presParOf" srcId="{CC1E0D94-525A-46F9-A8F9-77E71CE0CF42}" destId="{CAAA22BE-40A2-48E2-B821-5DB610EB7EDF}" srcOrd="8" destOrd="0" presId="urn:microsoft.com/office/officeart/2005/8/layout/radial1"/>
    <dgm:cxn modelId="{DCF25FCD-E644-45B2-97E0-EA364A18C15A}" type="presParOf" srcId="{CC1E0D94-525A-46F9-A8F9-77E71CE0CF42}" destId="{C25C5C5D-B844-4CAE-A0FA-0E5CB5B8FAFF}" srcOrd="9" destOrd="0" presId="urn:microsoft.com/office/officeart/2005/8/layout/radial1"/>
    <dgm:cxn modelId="{DD623387-1E17-4BD4-BC95-948DA7660801}" type="presParOf" srcId="{C25C5C5D-B844-4CAE-A0FA-0E5CB5B8FAFF}" destId="{F7E887EC-7B66-4722-B06D-4F0CA7624028}" srcOrd="0" destOrd="0" presId="urn:microsoft.com/office/officeart/2005/8/layout/radial1"/>
    <dgm:cxn modelId="{34E2FEE1-7A46-4A78-B5E8-965DC95D2466}" type="presParOf" srcId="{CC1E0D94-525A-46F9-A8F9-77E71CE0CF42}" destId="{FA1B48FA-5B65-4EF6-ADC7-6C647BA9855B}" srcOrd="10" destOrd="0" presId="urn:microsoft.com/office/officeart/2005/8/layout/radial1"/>
    <dgm:cxn modelId="{74872D01-C849-4E55-9170-1B163A67F578}" type="presParOf" srcId="{CC1E0D94-525A-46F9-A8F9-77E71CE0CF42}" destId="{90EDFE81-A5BD-4221-8FCD-66F0A01681BA}" srcOrd="11" destOrd="0" presId="urn:microsoft.com/office/officeart/2005/8/layout/radial1"/>
    <dgm:cxn modelId="{7A5AA94F-D973-4961-A079-7132A5E6AB04}" type="presParOf" srcId="{90EDFE81-A5BD-4221-8FCD-66F0A01681BA}" destId="{69F0790C-A54E-491C-B79B-5DBC3BCD243A}" srcOrd="0" destOrd="0" presId="urn:microsoft.com/office/officeart/2005/8/layout/radial1"/>
    <dgm:cxn modelId="{92C4A2F1-ACEF-4110-8C72-A6A4C2AE946D}" type="presParOf" srcId="{CC1E0D94-525A-46F9-A8F9-77E71CE0CF42}" destId="{D4EF9A7F-59A9-4FB9-9C62-984C243E648E}"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2D1A4-0C94-433F-991A-18D8A12CCA03}">
      <dsp:nvSpPr>
        <dsp:cNvPr id="0" name=""/>
        <dsp:cNvSpPr/>
      </dsp:nvSpPr>
      <dsp:spPr>
        <a:xfrm>
          <a:off x="3590009" y="2079612"/>
          <a:ext cx="1846614" cy="1858531"/>
        </a:xfrm>
        <a:prstGeom prst="ellipse">
          <a:avLst/>
        </a:prstGeom>
        <a:solidFill>
          <a:srgbClr val="002576"/>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ysClr val="window" lastClr="FFFFFF"/>
              </a:solidFill>
              <a:latin typeface="Arial"/>
              <a:ea typeface="+mn-ea"/>
              <a:cs typeface="+mn-cs"/>
            </a:rPr>
            <a:t>MEDC &amp; Core Partners, Steering Committee</a:t>
          </a:r>
        </a:p>
      </dsp:txBody>
      <dsp:txXfrm>
        <a:off x="3860439" y="2351788"/>
        <a:ext cx="1305754" cy="1314179"/>
      </dsp:txXfrm>
    </dsp:sp>
    <dsp:sp modelId="{D2217358-7A6D-4F66-B6C9-E16752FA6AF0}">
      <dsp:nvSpPr>
        <dsp:cNvPr id="0" name=""/>
        <dsp:cNvSpPr/>
      </dsp:nvSpPr>
      <dsp:spPr>
        <a:xfrm rot="16200000">
          <a:off x="4313018" y="1862789"/>
          <a:ext cx="400595" cy="33050"/>
        </a:xfrm>
        <a:custGeom>
          <a:avLst/>
          <a:gdLst/>
          <a:ahLst/>
          <a:cxnLst/>
          <a:rect l="0" t="0" r="0" b="0"/>
          <a:pathLst>
            <a:path>
              <a:moveTo>
                <a:pt x="0" y="16525"/>
              </a:moveTo>
              <a:lnTo>
                <a:pt x="360714"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a:off x="4503301" y="1889328"/>
        <a:ext cx="0" cy="0"/>
      </dsp:txXfrm>
    </dsp:sp>
    <dsp:sp modelId="{D4EBDD57-1FE4-4F82-8A54-A93163AD4B4A}">
      <dsp:nvSpPr>
        <dsp:cNvPr id="0" name=""/>
        <dsp:cNvSpPr/>
      </dsp:nvSpPr>
      <dsp:spPr>
        <a:xfrm>
          <a:off x="3684613" y="21610"/>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Business Service Organizations</a:t>
          </a:r>
        </a:p>
      </dsp:txBody>
      <dsp:txXfrm>
        <a:off x="3927334" y="264331"/>
        <a:ext cx="1171963" cy="1171963"/>
      </dsp:txXfrm>
    </dsp:sp>
    <dsp:sp modelId="{0F6F4236-3C15-4CDA-9644-1505B3875338}">
      <dsp:nvSpPr>
        <dsp:cNvPr id="0" name=""/>
        <dsp:cNvSpPr/>
      </dsp:nvSpPr>
      <dsp:spPr>
        <a:xfrm rot="19800000">
          <a:off x="5287070" y="2428690"/>
          <a:ext cx="405075"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a:off x="5475773" y="2441509"/>
        <a:ext cx="0" cy="0"/>
      </dsp:txXfrm>
    </dsp:sp>
    <dsp:sp modelId="{09CC6E7A-754D-4F59-A3C6-D744767F14D2}">
      <dsp:nvSpPr>
        <dsp:cNvPr id="0" name=""/>
        <dsp:cNvSpPr/>
      </dsp:nvSpPr>
      <dsp:spPr>
        <a:xfrm>
          <a:off x="5553985" y="1100893"/>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EDO’s</a:t>
          </a:r>
        </a:p>
      </dsp:txBody>
      <dsp:txXfrm>
        <a:off x="5796706" y="1343614"/>
        <a:ext cx="1171963" cy="1171963"/>
      </dsp:txXfrm>
    </dsp:sp>
    <dsp:sp modelId="{33E8B764-FA50-4D9A-92C4-019E9E1A235B}">
      <dsp:nvSpPr>
        <dsp:cNvPr id="0" name=""/>
        <dsp:cNvSpPr/>
      </dsp:nvSpPr>
      <dsp:spPr>
        <a:xfrm rot="1800000">
          <a:off x="5287070" y="3556014"/>
          <a:ext cx="405075"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a:off x="5485900" y="3558706"/>
        <a:ext cx="0" cy="0"/>
      </dsp:txXfrm>
    </dsp:sp>
    <dsp:sp modelId="{4C4E9582-A1F3-4C88-A504-63ED52D41AA9}">
      <dsp:nvSpPr>
        <dsp:cNvPr id="0" name=""/>
        <dsp:cNvSpPr/>
      </dsp:nvSpPr>
      <dsp:spPr>
        <a:xfrm>
          <a:off x="5553985" y="3259457"/>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SmartZones</a:t>
          </a:r>
        </a:p>
      </dsp:txBody>
      <dsp:txXfrm>
        <a:off x="5796706" y="3502178"/>
        <a:ext cx="1171963" cy="1171963"/>
      </dsp:txXfrm>
    </dsp:sp>
    <dsp:sp modelId="{5342B18D-E96F-46D9-AD20-F155DA9A9E9C}">
      <dsp:nvSpPr>
        <dsp:cNvPr id="0" name=""/>
        <dsp:cNvSpPr/>
      </dsp:nvSpPr>
      <dsp:spPr>
        <a:xfrm rot="5400000">
          <a:off x="4313018" y="4121916"/>
          <a:ext cx="400595" cy="33050"/>
        </a:xfrm>
        <a:custGeom>
          <a:avLst/>
          <a:gdLst/>
          <a:ahLst/>
          <a:cxnLst/>
          <a:rect l="0" t="0" r="0" b="0"/>
          <a:pathLst>
            <a:path>
              <a:moveTo>
                <a:pt x="0" y="16525"/>
              </a:moveTo>
              <a:lnTo>
                <a:pt x="360714"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a:off x="4523330" y="4128426"/>
        <a:ext cx="0" cy="0"/>
      </dsp:txXfrm>
    </dsp:sp>
    <dsp:sp modelId="{CAAA22BE-40A2-48E2-B821-5DB610EB7EDF}">
      <dsp:nvSpPr>
        <dsp:cNvPr id="0" name=""/>
        <dsp:cNvSpPr/>
      </dsp:nvSpPr>
      <dsp:spPr>
        <a:xfrm>
          <a:off x="3684613" y="4338739"/>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Professional Service Firms</a:t>
          </a:r>
        </a:p>
      </dsp:txBody>
      <dsp:txXfrm>
        <a:off x="3927334" y="4581460"/>
        <a:ext cx="1171963" cy="1171963"/>
      </dsp:txXfrm>
    </dsp:sp>
    <dsp:sp modelId="{C25C5C5D-B844-4CAE-A0FA-0E5CB5B8FAFF}">
      <dsp:nvSpPr>
        <dsp:cNvPr id="0" name=""/>
        <dsp:cNvSpPr/>
      </dsp:nvSpPr>
      <dsp:spPr>
        <a:xfrm rot="9000000">
          <a:off x="3334487" y="3556014"/>
          <a:ext cx="405075"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rot="10800000">
        <a:off x="3550858" y="3576246"/>
        <a:ext cx="0" cy="0"/>
      </dsp:txXfrm>
    </dsp:sp>
    <dsp:sp modelId="{FA1B48FA-5B65-4EF6-ADC7-6C647BA9855B}">
      <dsp:nvSpPr>
        <dsp:cNvPr id="0" name=""/>
        <dsp:cNvSpPr/>
      </dsp:nvSpPr>
      <dsp:spPr>
        <a:xfrm>
          <a:off x="1815242" y="3259457"/>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CDFI’s, Banks &amp; Credit Unions</a:t>
          </a:r>
        </a:p>
      </dsp:txBody>
      <dsp:txXfrm>
        <a:off x="2057963" y="3502178"/>
        <a:ext cx="1171963" cy="1171963"/>
      </dsp:txXfrm>
    </dsp:sp>
    <dsp:sp modelId="{90EDFE81-A5BD-4221-8FCD-66F0A01681BA}">
      <dsp:nvSpPr>
        <dsp:cNvPr id="0" name=""/>
        <dsp:cNvSpPr/>
      </dsp:nvSpPr>
      <dsp:spPr>
        <a:xfrm rot="12600000">
          <a:off x="3334487" y="2428690"/>
          <a:ext cx="405075" cy="33050"/>
        </a:xfrm>
        <a:custGeom>
          <a:avLst/>
          <a:gdLst/>
          <a:ahLst/>
          <a:cxnLst/>
          <a:rect l="0" t="0" r="0" b="0"/>
          <a:pathLst>
            <a:path>
              <a:moveTo>
                <a:pt x="0" y="16525"/>
              </a:moveTo>
              <a:lnTo>
                <a:pt x="364748" y="16525"/>
              </a:lnTo>
            </a:path>
          </a:pathLst>
        </a:custGeom>
        <a:noFill/>
        <a:ln w="12700" cap="flat" cmpd="sng" algn="ctr">
          <a:solidFill>
            <a:srgbClr val="CACCCF">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Arial"/>
            <a:ea typeface="+mn-ea"/>
            <a:cs typeface="+mn-cs"/>
          </a:endParaRPr>
        </a:p>
      </dsp:txBody>
      <dsp:txXfrm rot="10800000">
        <a:off x="3540731" y="2459049"/>
        <a:ext cx="0" cy="0"/>
      </dsp:txXfrm>
    </dsp:sp>
    <dsp:sp modelId="{D4EF9A7F-59A9-4FB9-9C62-984C243E648E}">
      <dsp:nvSpPr>
        <dsp:cNvPr id="0" name=""/>
        <dsp:cNvSpPr/>
      </dsp:nvSpPr>
      <dsp:spPr>
        <a:xfrm>
          <a:off x="1815242" y="1100893"/>
          <a:ext cx="1657405" cy="1657405"/>
        </a:xfrm>
        <a:prstGeom prst="ellipse">
          <a:avLst/>
        </a:prstGeom>
        <a:solidFill>
          <a:srgbClr val="CACCCF">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002576"/>
              </a:solidFill>
              <a:latin typeface="Arial"/>
              <a:ea typeface="+mn-ea"/>
              <a:cs typeface="+mn-cs"/>
            </a:rPr>
            <a:t>DDA / Community Organizations</a:t>
          </a:r>
        </a:p>
      </dsp:txBody>
      <dsp:txXfrm>
        <a:off x="2057963" y="1343614"/>
        <a:ext cx="1171963" cy="1171963"/>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FEF9E4-052B-4555-A87B-D6C23E49E334}" type="datetimeFigureOut">
              <a:rPr lang="en-US" smtClean="0"/>
              <a:t>2/14/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CADC71-28C3-4C04-B927-F085FC92DE07}" type="slidenum">
              <a:rPr lang="en-US" smtClean="0"/>
              <a:t>‹#›</a:t>
            </a:fld>
            <a:endParaRPr lang="en-US" dirty="0"/>
          </a:p>
        </p:txBody>
      </p:sp>
    </p:spTree>
    <p:extLst>
      <p:ext uri="{BB962C8B-B14F-4D97-AF65-F5344CB8AC3E}">
        <p14:creationId xmlns:p14="http://schemas.microsoft.com/office/powerpoint/2010/main" val="22665107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1" u="sng" kern="100" dirty="0">
                <a:effectLst/>
                <a:latin typeface="Calibri" panose="020F0502020204030204" pitchFamily="34" charset="0"/>
                <a:ea typeface="Calibri" panose="020F0502020204030204" pitchFamily="34" charset="0"/>
                <a:cs typeface="Times New Roman" panose="02020603050405020304" pitchFamily="18" charset="0"/>
              </a:rPr>
              <a:t>INTRO:</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i="1" kern="100" dirty="0">
                <a:effectLst/>
                <a:latin typeface="Calibri" panose="020F0502020204030204" pitchFamily="34" charset="0"/>
                <a:ea typeface="Calibri" panose="020F0502020204030204" pitchFamily="34" charset="0"/>
                <a:cs typeface="Times New Roman" panose="02020603050405020304" pitchFamily="18" charset="0"/>
              </a:rPr>
              <a:t>Thank them for having you.</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307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2800" b="1" i="0" u="sng" dirty="0">
                <a:solidFill>
                  <a:srgbClr val="353535"/>
                </a:solidFill>
                <a:effectLst/>
                <a:latin typeface="inherit"/>
              </a:rPr>
              <a:t>WINNING IN OUR OWN BACKYARD: OFFICE OF HIGH-SPEED INTERNET</a:t>
            </a:r>
          </a:p>
          <a:p>
            <a:pPr marL="457200" indent="-457200" algn="l" fontAlgn="base">
              <a:buFont typeface="Arial" panose="020B0604020202020204" pitchFamily="34" charset="0"/>
              <a:buChar char="•"/>
            </a:pPr>
            <a:r>
              <a:rPr lang="en-US" sz="2800" b="0" i="0" dirty="0">
                <a:solidFill>
                  <a:srgbClr val="353535"/>
                </a:solidFill>
                <a:effectLst/>
                <a:latin typeface="inherit"/>
              </a:rPr>
              <a:t>In June, Gov. Whitmer signed an Executive Directive to expand high-speed internet access for people in Michigan, creating the Michigan High-Speed Internet Office (MIHI) to ensure that "every home and business in Michigan will have access to an affordable, reliable high-speed internet connection that meets their needs." </a:t>
            </a:r>
          </a:p>
          <a:p>
            <a:pPr marL="457200" indent="-457200" algn="l" fontAlgn="base">
              <a:buFont typeface="Arial" panose="020B0604020202020204" pitchFamily="34" charset="0"/>
              <a:buChar char="•"/>
            </a:pPr>
            <a:r>
              <a:rPr lang="en-US" sz="2800" b="0" i="0" dirty="0">
                <a:solidFill>
                  <a:srgbClr val="353535"/>
                </a:solidFill>
                <a:effectLst/>
                <a:latin typeface="inherit"/>
              </a:rPr>
              <a:t>High-speed internet is becoming more of a necessity than ever before in citizens' educational, professional and personal lives played a key factor in the creation of MIHI, especially since the COVID-19 pandemic hit. </a:t>
            </a:r>
          </a:p>
          <a:p>
            <a:pPr marL="457200" indent="-457200" algn="l" fontAlgn="base">
              <a:buFont typeface="Arial" panose="020B0604020202020204" pitchFamily="34" charset="0"/>
              <a:buChar char="•"/>
            </a:pPr>
            <a:r>
              <a:rPr lang="en-US" sz="2800" b="0" i="0" dirty="0">
                <a:solidFill>
                  <a:srgbClr val="353535"/>
                </a:solidFill>
                <a:effectLst/>
                <a:latin typeface="inherit"/>
              </a:rPr>
              <a:t>MEDC works to support efforts being led by Eric Frederick in this office, acknowledging that businesses and talent alike make decisions about where to locate and grow based on their ability to access necessities like high-speed internet</a:t>
            </a:r>
          </a:p>
          <a:p>
            <a:pPr marL="457200" indent="-457200" algn="l" fontAlgn="base">
              <a:buFont typeface="Arial" panose="020B0604020202020204" pitchFamily="34" charset="0"/>
              <a:buChar char="•"/>
            </a:pPr>
            <a:r>
              <a:rPr lang="en-US" sz="4000" b="0" i="0" dirty="0">
                <a:solidFill>
                  <a:srgbClr val="353535"/>
                </a:solidFill>
                <a:effectLst/>
                <a:latin typeface="Montserrat" panose="00000500000000000000" pitchFamily="2" charset="0"/>
              </a:rPr>
              <a:t>Gov. Whitmer signed into law the Broadband Expansion Act of Michigan in June, which codified the Connecting Michigan Communities (CMIC) grant program. </a:t>
            </a:r>
            <a:endParaRPr lang="en-US" sz="1800" b="0" i="0" dirty="0">
              <a:solidFill>
                <a:srgbClr val="353535"/>
              </a:solidFill>
              <a:effectLst/>
              <a:latin typeface="Calibri" panose="020F0502020204030204" pitchFamily="34" charset="0"/>
              <a:cs typeface="Times New Roman" panose="02020603050405020304" pitchFamily="18" charset="0"/>
            </a:endParaRPr>
          </a:p>
          <a:p>
            <a:pPr marL="457200" indent="-457200" algn="l" fontAlgn="base">
              <a:buFont typeface="Arial" panose="020B0604020202020204" pitchFamily="34" charset="0"/>
              <a:buChar char="•"/>
            </a:pPr>
            <a:r>
              <a:rPr lang="en-US" sz="1800" b="0" i="0" dirty="0">
                <a:solidFill>
                  <a:srgbClr val="353535"/>
                </a:solidFill>
                <a:effectLst/>
                <a:latin typeface="Calibri" panose="020F0502020204030204" pitchFamily="34" charset="0"/>
                <a:cs typeface="Times New Roman" panose="02020603050405020304" pitchFamily="18" charset="0"/>
              </a:rPr>
              <a:t>Connecting MI Communities Grant Program: </a:t>
            </a:r>
            <a:r>
              <a:rPr lang="en-US" sz="5400" b="0" i="0" dirty="0">
                <a:solidFill>
                  <a:srgbClr val="353535"/>
                </a:solidFill>
                <a:effectLst/>
                <a:latin typeface="Montserrat" panose="00000500000000000000" pitchFamily="2" charset="0"/>
              </a:rPr>
              <a:t>The Michigan Department of Technology, Management, and Budget (DTMB) is providing a grant opportunity to extend broadband service into unserved areas in Michigan. The grant funds are available to projects that demonstrate collaboration to achieve community investment and economic development goals of the area impacted.</a:t>
            </a:r>
            <a:endParaRPr lang="en-US" sz="4000" b="0" i="0" dirty="0">
              <a:solidFill>
                <a:srgbClr val="353535"/>
              </a:solidFill>
              <a:effectLst/>
              <a:latin typeface="Montserrat" panose="000005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CFA62F-C7EC-438B-8064-8DF428568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583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PHYSICAL AND KNOWLEDGE INFRASTRUCTURE: TALENT</a:t>
            </a:r>
            <a:r>
              <a:rPr lang="en-US" sz="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MEDC is developing the talent for Michigan’s tomorrow.</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Every state faces a universal challenge of how to attract, keep and grow their workforce to meet employer needs.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Here in Michigan, we’re no exception; what we hear most from employers is that they are having trouble finding talent.</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e need to be honest about the challenges we’re facing if we’re going to be effective in addressing them:</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e are experiencing challenges in retaining and recruiting talent, and upskilling/reskilling workers. </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In advanced manufacturing and healthcare, there is a significant shortfall of high-skill worker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Labor force participation rates are lagging.</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Need to grow diversity in talent across priority sector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ust strengthen the link between education and employer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Also – I said it before, and I know it’s grim, but it’s also the truth: Our population growth is trending towards decline.</a:t>
            </a:r>
          </a:p>
          <a:p>
            <a:pPr marL="1143000" marR="0" lvl="2" indent="-228600">
              <a:lnSpc>
                <a:spcPct val="107000"/>
              </a:lnSpc>
              <a:spcBef>
                <a:spcPts val="0"/>
              </a:spcBef>
              <a:spcAft>
                <a:spcPts val="0"/>
              </a:spcAft>
              <a:buFont typeface="Symbol" panose="05050102010706020507" pitchFamily="18" charset="2"/>
              <a:buChar char=""/>
              <a:tabLst>
                <a:tab pos="13716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Come 2028, deaths will outpace births in Michigan.</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By investing in tailored solutions for employers, expanding educational opportunities to build competitive, cross-industry talent for the future, and investing in education/employment partnerships that create early career exposure and better feedback between educators and employers, Michigan’s talent pool can help build upon our state’s economic competitiveness and allow us to continue winning in the years to come.</a:t>
            </a:r>
          </a:p>
          <a:p>
            <a:endParaRPr lang="en-US" sz="1800" kern="1200" dirty="0">
              <a:solidFill>
                <a:schemeClr val="tx1"/>
              </a:solidFill>
              <a:effectLst/>
              <a:latin typeface="Arial"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442B5-72D0-4BD5-81E1-22977408A6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177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PHYSICAL AND KNOWLEDGE INFRASTRUCTURE: TALENT ACTION TEAM</a:t>
            </a:r>
            <a:r>
              <a:rPr lang="en-US" sz="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Building on our commitment to providing concierge-level support to businesses looking to grow and expand, the MEDC convened two Talent Action Teams to launch the first focused effort on supporting the talent transition in the EV and mobility sectors as well as the semiconductor industry. </a:t>
            </a:r>
          </a:p>
          <a:p>
            <a:pPr marL="742950" marR="0" lvl="1" indent="-285750">
              <a:lnSpc>
                <a:spcPct val="107000"/>
              </a:lnSpc>
              <a:spcBef>
                <a:spcPts val="0"/>
              </a:spcBef>
              <a:spcAft>
                <a:spcPts val="0"/>
              </a:spcAft>
              <a:buFont typeface="Courier New" panose="02070309020205020404" pitchFamily="49" charset="0"/>
              <a:buChar char="o"/>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In the future, we’ll also launch similar Talent Action Teams specific to other focus industries in the state.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EV and mobility Talent Action Team’s goal is to train thousands of workers in the first year by delivering professional development programs that engage workers in improving their skills and competencies in line with in-demand roles.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is new model of workforce development aims to reshape a once fragmented and dispersed landscape of resources and programs into a hub of innovation and collaboration, all centered on the people that have made Michigan a powerhouse of the auto industry for over a century.</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Team acts as a concierge service for talent solutions, including leveraging existing programs such as Going Pro and MI Reconnect.</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work being led by the Talent Action Team will serve to inform other industry-specific initiatives, as well, like the state’s EV Academy, to proactively prepare the talent needed for automotive mobility and electrification current, emerging, future jobs and career pathways.</a:t>
            </a:r>
          </a:p>
          <a:p>
            <a:pPr marL="0" marR="0">
              <a:spcBef>
                <a:spcPts val="0"/>
              </a:spcBef>
              <a:spcAft>
                <a:spcPts val="800"/>
              </a:spcAft>
            </a:pPr>
            <a:r>
              <a:rPr lang="en-US" sz="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7176F-8946-4E98-B6D6-E1686A39E1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0555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PHYSICAL AND KNOWLEDGE INFRASTRUCTURE: STRATEGIC SITE READINES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ichigan is years, and even decades, behind competitor and other states in site readiness efforts.</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ichigan is being noticed and is experiencing an unprecedented level of interest as a site selection option.</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tab pos="457200" algn="l"/>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Being site-ready means having the talent, incentives, energy connectivity, DEI initiatives and support systems in place to welcome a global company and its employees on Day On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ith the additional $350 million MEDC received to support strategic site readiness, we are:</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Identifying and preparing multiple megasites throughout the state</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Growing our Build Ready Sites Program to prepare sites of all sizes in communities across Michigan</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Identifying innovative ways to address company site concerns in real time as our pipeline faces historic deman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F NEEDED: KEY DEFINI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Site Selection </a:t>
            </a:r>
            <a:r>
              <a:rPr kumimoji="0" lang="en-US" sz="1400" b="0" i="0" u="none" strike="noStrike" kern="1200" cap="none" spc="0" normalizeH="0" baseline="0" noProof="0" dirty="0">
                <a:ln>
                  <a:noFill/>
                </a:ln>
                <a:effectLst/>
                <a:uLnTx/>
                <a:uFillTx/>
                <a:latin typeface="Arial"/>
                <a:ea typeface="+mn-ea"/>
                <a:cs typeface="+mn-cs"/>
              </a:rPr>
              <a:t>is the process of analyzing all factors impacting the likelihood of project success.  </a:t>
            </a:r>
          </a:p>
          <a:p>
            <a:pPr marL="742950" lvl="1" indent="-285750">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a:ea typeface="+mn-ea"/>
                <a:cs typeface="+mn-cs"/>
              </a:rPr>
              <a:t>There are two initial drivers in the site selection process: </a:t>
            </a:r>
            <a:r>
              <a:rPr kumimoji="0" lang="en-US" sz="1400" b="1" i="0" u="none" strike="noStrike" kern="1200" cap="none" spc="0" normalizeH="0" baseline="0" noProof="0" dirty="0">
                <a:ln>
                  <a:noFill/>
                </a:ln>
                <a:effectLst/>
                <a:uLnTx/>
                <a:uFillTx/>
                <a:latin typeface="Arial"/>
                <a:ea typeface="+mn-ea"/>
                <a:cs typeface="+mn-cs"/>
              </a:rPr>
              <a:t>site and talent</a:t>
            </a:r>
            <a:r>
              <a:rPr kumimoji="0" lang="en-US" sz="1400" b="0" i="0" u="none" strike="noStrike" kern="1200" cap="none" spc="0" normalizeH="0" baseline="0" noProof="0" dirty="0">
                <a:ln>
                  <a:noFill/>
                </a:ln>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Site</a:t>
            </a:r>
            <a:r>
              <a:rPr kumimoji="0" lang="en-US" sz="1400" b="0" i="0" u="none" strike="noStrike" kern="1200" cap="none" spc="0" normalizeH="0" baseline="0" noProof="0" dirty="0">
                <a:ln>
                  <a:noFill/>
                </a:ln>
                <a:effectLst/>
                <a:uLnTx/>
                <a:uFillTx/>
                <a:latin typeface="Arial"/>
                <a:ea typeface="+mn-ea"/>
                <a:cs typeface="+mn-cs"/>
              </a:rPr>
              <a:t> is the physical property and attributes, including all factors related to the viability of site development and op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Energy</a:t>
            </a:r>
            <a:r>
              <a:rPr kumimoji="0" lang="en-US" sz="1400" b="0" i="0" u="none" strike="noStrike" kern="1200" cap="none" spc="0" normalizeH="0" baseline="0" noProof="0" dirty="0">
                <a:ln>
                  <a:noFill/>
                </a:ln>
                <a:effectLst/>
                <a:uLnTx/>
                <a:uFillTx/>
                <a:latin typeface="Arial"/>
                <a:ea typeface="+mn-ea"/>
                <a:cs typeface="+mn-cs"/>
              </a:rPr>
              <a:t> is the availability and cost of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Incentives</a:t>
            </a:r>
            <a:r>
              <a:rPr kumimoji="0" lang="en-US" sz="1400" b="0" i="0" u="none" strike="noStrike" kern="1200" cap="none" spc="0" normalizeH="0" baseline="0" noProof="0" dirty="0">
                <a:ln>
                  <a:noFill/>
                </a:ln>
                <a:effectLst/>
                <a:uLnTx/>
                <a:uFillTx/>
                <a:latin typeface="Arial"/>
                <a:ea typeface="+mn-ea"/>
                <a:cs typeface="+mn-cs"/>
              </a:rPr>
              <a:t> are financial and other resources applied to project costs, which vary by project and may be a significant facto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Talent</a:t>
            </a:r>
            <a:r>
              <a:rPr kumimoji="0" lang="en-US" sz="1400" b="0" i="0" u="none" strike="noStrike" kern="1200" cap="none" spc="0" normalizeH="0" baseline="0" noProof="0" dirty="0">
                <a:ln>
                  <a:noFill/>
                </a:ln>
                <a:effectLst/>
                <a:uLnTx/>
                <a:uFillTx/>
                <a:latin typeface="Arial"/>
                <a:ea typeface="+mn-ea"/>
                <a:cs typeface="+mn-cs"/>
              </a:rPr>
              <a:t> is workforce availability and initiatives designed to secure workforce requirements.</a:t>
            </a:r>
            <a:endParaRPr kumimoji="0" lang="en-US" sz="14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Community </a:t>
            </a:r>
            <a:r>
              <a:rPr kumimoji="0" lang="en-US" sz="1400" b="0" i="0" u="none" strike="noStrike" kern="1200" cap="none" spc="0" normalizeH="0" baseline="0" noProof="0" dirty="0">
                <a:ln>
                  <a:noFill/>
                </a:ln>
                <a:effectLst/>
                <a:uLnTx/>
                <a:uFillTx/>
                <a:latin typeface="Arial"/>
                <a:ea typeface="+mn-ea"/>
                <a:cs typeface="+mn-cs"/>
              </a:rPr>
              <a:t>is</a:t>
            </a:r>
            <a:r>
              <a:rPr kumimoji="0" lang="en-US" sz="1400" b="1" i="0" u="none" strike="noStrike" kern="1200" cap="none" spc="0" normalizeH="0" baseline="0" noProof="0" dirty="0">
                <a:ln>
                  <a:noFill/>
                </a:ln>
                <a:effectLst/>
                <a:uLnTx/>
                <a:uFillTx/>
                <a:latin typeface="Arial"/>
                <a:ea typeface="+mn-ea"/>
                <a:cs typeface="+mn-cs"/>
              </a:rPr>
              <a:t> </a:t>
            </a:r>
            <a:r>
              <a:rPr kumimoji="0" lang="en-US" sz="1400" b="0" i="0" u="none" strike="noStrike" kern="1200" cap="none" spc="0" normalizeH="0" baseline="0" noProof="0" dirty="0">
                <a:ln>
                  <a:noFill/>
                </a:ln>
                <a:effectLst/>
                <a:uLnTx/>
                <a:uFillTx/>
                <a:latin typeface="Arial"/>
                <a:ea typeface="+mn-ea"/>
                <a:cs typeface="+mn-cs"/>
              </a:rPr>
              <a:t>the supporting position of the local unit of government; quality of life attributes such as housing availability and schools, and vibrant communities.</a:t>
            </a:r>
            <a:endParaRPr kumimoji="0" lang="en-US" sz="14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effectLst/>
                <a:uLnTx/>
                <a:uFillTx/>
                <a:latin typeface="Arial"/>
                <a:ea typeface="+mn-ea"/>
                <a:cs typeface="+mn-cs"/>
              </a:rPr>
              <a:t>Qualitative Considerations </a:t>
            </a:r>
            <a:r>
              <a:rPr kumimoji="0" lang="en-US" sz="1400" b="0" i="0" u="none" strike="noStrike" kern="1200" cap="none" spc="0" normalizeH="0" baseline="0" noProof="0" dirty="0">
                <a:ln>
                  <a:noFill/>
                </a:ln>
                <a:effectLst/>
                <a:uLnTx/>
                <a:uFillTx/>
                <a:latin typeface="Arial"/>
                <a:ea typeface="+mn-ea"/>
                <a:cs typeface="+mn-cs"/>
              </a:rPr>
              <a:t>are the non-measurable aspects that companies and consultants respond to emotionally – the cohesiveness of the team and eagerness to secure projects, DEI initiatives, environmental sustainability goals, personal intera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91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kern="100" dirty="0">
                <a:effectLst/>
                <a:latin typeface="Calibri" panose="020F0502020204030204" pitchFamily="34" charset="0"/>
                <a:ea typeface="Calibri" panose="020F0502020204030204" pitchFamily="34" charset="0"/>
                <a:cs typeface="Times New Roman" panose="02020603050405020304" pitchFamily="18" charset="0"/>
              </a:rPr>
              <a:t>IMPORTANCE OF PLACE IN OUR ECONOMIC FUTURE: HOUSING</a:t>
            </a:r>
            <a:endParaRPr lang="en-US"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Last summer, Governor Whitmer proposed a significant $100 million investment in affordable, attainable housing to create 2,000 units, create 1,600 good-paying jobs and give 6,000 Michiganders a place to call home.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re working with the Administration and MSHDA to support greater access to affordable housing to make sure all our communities are a great place to live, work and play. </a:t>
            </a: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 know that workers want safe, attractive and affordable housing options with access to businesses, public services, cultural amenities and community assets – and yet, here in Michigan there is a housing shortage being felt across many housing types and price points.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MEDC specifically targets housing for households with incomes between 80% and 120% of the area median income (AMI) in growing the inventory of housing for Michigan’s workforce.  </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 work closely with the Michigan State House Development Authority, who in turn supports low-income housing.</a:t>
            </a:r>
            <a:r>
              <a:rPr lang="en-US" sz="1100" kern="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Pleased to support the first-ever statewide housing plan introduced by the Governor this year, which works to make investments in affordable, accessible housing that will give us a competitive edge in attracting and retaining talent. </a:t>
            </a:r>
          </a:p>
          <a:p>
            <a:pPr marL="342900" marR="0" lvl="0" indent="-342900">
              <a:lnSpc>
                <a:spcPct val="107000"/>
              </a:lnSpc>
              <a:spcBef>
                <a:spcPts val="120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 can make bold investments to support our business community and create better jobs for Michigan workers, with a laser-focus on creating and growing more Main Street businesses that make up the heart and soul of our local communities.</a:t>
            </a:r>
          </a:p>
          <a:p>
            <a:pPr marL="800100" marR="0" lvl="1" indent="-342900">
              <a:lnSpc>
                <a:spcPct val="107000"/>
              </a:lnSpc>
              <a:spcBef>
                <a:spcPts val="1200"/>
              </a:spcBef>
              <a:spcAft>
                <a:spcPts val="0"/>
              </a:spcAft>
              <a:buFont typeface="Symbol" panose="05050102010706020507" pitchFamily="18" charset="2"/>
              <a:buChar char=""/>
            </a:pPr>
            <a:r>
              <a:rPr lang="en-US" sz="1600" b="1" i="0" dirty="0">
                <a:solidFill>
                  <a:srgbClr val="212529"/>
                </a:solidFill>
                <a:effectLst/>
                <a:latin typeface="Open Sans" panose="020B0606030504020204" pitchFamily="34" charset="0"/>
              </a:rPr>
              <a:t>Build MI Community Grant</a:t>
            </a:r>
            <a:r>
              <a:rPr lang="en-US" sz="1600" b="0" i="0" dirty="0">
                <a:solidFill>
                  <a:srgbClr val="212529"/>
                </a:solidFill>
                <a:effectLst/>
                <a:latin typeface="Open Sans" panose="020B0606030504020204" pitchFamily="34" charset="0"/>
              </a:rPr>
              <a:t>: provides access to real estate development gap financing for small scale, incremental redevelopment projects.</a:t>
            </a:r>
          </a:p>
          <a:p>
            <a:pPr marL="1257300" marR="0" lvl="2" indent="-342900">
              <a:lnSpc>
                <a:spcPct val="107000"/>
              </a:lnSpc>
              <a:spcBef>
                <a:spcPts val="1200"/>
              </a:spcBef>
              <a:spcAft>
                <a:spcPts val="0"/>
              </a:spcAft>
              <a:buFont typeface="Symbol" panose="05050102010706020507" pitchFamily="18" charset="2"/>
              <a:buChar char=""/>
            </a:pPr>
            <a:r>
              <a:rPr lang="en-US" sz="1600" b="0" i="0" dirty="0">
                <a:solidFill>
                  <a:srgbClr val="212529"/>
                </a:solidFill>
                <a:effectLst/>
                <a:latin typeface="Open Sans" panose="020B0606030504020204" pitchFamily="34" charset="0"/>
              </a:rPr>
              <a:t>The Build MI Community Initiative has been established to re-activate underutilized or vacant space into vibrant areas by promoting capital investment into redevelopment projects being taken on by developers and property owners with limited real estate development experience and familiarizing them with the development process in order to position them to potentially undertake more complex projects in the future.</a:t>
            </a:r>
            <a:endParaRPr lang="en-US"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800100" marR="0" lvl="1" indent="-342900">
              <a:lnSpc>
                <a:spcPct val="107000"/>
              </a:lnSpc>
              <a:spcBef>
                <a:spcPts val="1200"/>
              </a:spcBef>
              <a:spcAft>
                <a:spcPts val="0"/>
              </a:spcAft>
              <a:buFont typeface="Symbol" panose="05050102010706020507" pitchFamily="18" charset="2"/>
              <a:buChar char=""/>
            </a:pPr>
            <a:r>
              <a:rPr lang="en-US" sz="1100" b="1" kern="100" dirty="0">
                <a:effectLst/>
                <a:latin typeface="Calibri" panose="020F0502020204030204" pitchFamily="34" charset="0"/>
                <a:ea typeface="Calibri" panose="020F0502020204030204" pitchFamily="34" charset="0"/>
                <a:cs typeface="Times New Roman" panose="02020603050405020304" pitchFamily="18" charset="0"/>
              </a:rPr>
              <a:t>Revitalization and Placemaking Program</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 awarded </a:t>
            </a:r>
            <a:r>
              <a:rPr lang="en-US" sz="1600" b="0" i="0" dirty="0">
                <a:solidFill>
                  <a:srgbClr val="212529"/>
                </a:solidFill>
                <a:effectLst/>
                <a:latin typeface="Open Sans" panose="020B0606030504020204" pitchFamily="34" charset="0"/>
              </a:rPr>
              <a:t>$83.8 million in grant funding across 22 statewide community development projects around Michigan</a:t>
            </a:r>
          </a:p>
          <a:p>
            <a:pPr marL="342900" marR="0" lvl="0" indent="-342900">
              <a:lnSpc>
                <a:spcPct val="107000"/>
              </a:lnSpc>
              <a:spcBef>
                <a:spcPts val="1200"/>
              </a:spcBef>
              <a:spcAft>
                <a:spcPts val="0"/>
              </a:spcAft>
              <a:buFont typeface="Symbol" panose="05050102010706020507" pitchFamily="18" charset="2"/>
              <a:buChar cha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And of course, this means that we need to build stronger communities across our state, because Michiganders deserve to live in vibrant places with the kinds of services and amenities that can create a high quality of life, from affordable and attainable housing to high-speed internet access. </a:t>
            </a:r>
          </a:p>
          <a:p>
            <a:pPr marL="342900" marR="0" lvl="0" indent="-342900">
              <a:lnSpc>
                <a:spcPct val="107000"/>
              </a:lnSpc>
              <a:spcBef>
                <a:spcPts val="120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t the end of the day, the true measure of success and impact within our economy won’t be based on rosy economic statistics or reports. It will be measured by the conversations taking place at kitchen tables every night across our state. </a:t>
            </a:r>
            <a:endParaRPr lang="en-US" dirty="0"/>
          </a:p>
          <a:p>
            <a:pPr marL="342900" marR="0" lvl="0" indent="-342900">
              <a:lnSpc>
                <a:spcPct val="107000"/>
              </a:lnSpc>
              <a:spcBef>
                <a:spcPts val="120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F8CADC71-28C3-4C04-B927-F085FC92DE07}" type="slidenum">
              <a:rPr lang="en-US" smtClean="0"/>
              <a:t>14</a:t>
            </a:fld>
            <a:endParaRPr lang="en-US" dirty="0"/>
          </a:p>
        </p:txBody>
      </p:sp>
    </p:spTree>
    <p:extLst>
      <p:ext uri="{BB962C8B-B14F-4D97-AF65-F5344CB8AC3E}">
        <p14:creationId xmlns:p14="http://schemas.microsoft.com/office/powerpoint/2010/main" val="3377097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6000"/>
              </a:lnSpc>
              <a:spcBef>
                <a:spcPts val="0"/>
              </a:spcBef>
              <a:spcAft>
                <a:spcPts val="800"/>
              </a:spcAft>
              <a:buClrTx/>
              <a:buSzTx/>
              <a:buFontTx/>
              <a:buNone/>
              <a:tabLst/>
              <a:defRPr/>
            </a:pPr>
            <a:r>
              <a:rPr lang="en-US" sz="1100" b="1" u="sng" kern="100" dirty="0">
                <a:effectLst/>
                <a:latin typeface="Calibri" panose="020F0502020204030204" pitchFamily="34" charset="0"/>
                <a:ea typeface="Calibri" panose="020F0502020204030204" pitchFamily="34" charset="0"/>
                <a:cs typeface="Times New Roman" panose="02020603050405020304" pitchFamily="18" charset="0"/>
              </a:rPr>
              <a:t>IMPORTANCE OF PLACE IN OUR ECONOMIC FUTURE: EMERGING DEVELOPER SUPPORT</a:t>
            </a:r>
            <a:endParaRPr lang="en-US" sz="1100" b="0" u="none"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lso making a commitment to supporting opportunities for community members to get involved in development projects to be part of the change they want to see in their communities – even if they don’t have traditional developer experience or access. </a:t>
            </a:r>
          </a:p>
          <a:p>
            <a:pPr marL="342900" marR="0" lvl="0" indent="-342900">
              <a:lnSpc>
                <a:spcPct val="107000"/>
              </a:lnSpc>
              <a:spcBef>
                <a:spcPts val="120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MEDC created our Emerging Developers program – and a Developers Toolkit – to help break down barriers for new developers to engage in opportunities to grow and invest in their communities.</a:t>
            </a:r>
          </a:p>
          <a:p>
            <a:pPr marL="342900" marR="0" lvl="0" indent="-342900">
              <a:lnSpc>
                <a:spcPct val="107000"/>
              </a:lnSpc>
              <a:spcBef>
                <a:spcPts val="120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nd of course, this means that we need to build stronger communities across our state, because Michiganders deserve to live in vibrant places with the kinds of services and amenities that can create a high quality of life, from affordable and attainable housing to high-speed internet access. </a:t>
            </a:r>
          </a:p>
          <a:p>
            <a:pPr marL="342900" marR="0" lvl="0" indent="-342900">
              <a:lnSpc>
                <a:spcPct val="107000"/>
              </a:lnSpc>
              <a:spcBef>
                <a:spcPts val="120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At the end of the day, the true measure of success and impact within our economy won’t be based on rosy economic statistics or reports. It will be measured by the conversations taking place at kitchen tables every night across our state. </a:t>
            </a:r>
            <a:endParaRPr lang="en-US" sz="11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597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MARKETING THE STAT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addition to our work to attract and retain companies, support small businesses, accelerate high-tech innovation and develop attractive communities – is our proactive work to market the state by promoting Michigan’s image as a world-class business location and travel destination.</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Pure Michigan is no doubt the best-known campaign, and while it is no doubt first and foremost a consumer-facing leisure travel campaign effort, we also very much consider Pure Michigan as part of our economic development efforts as well – particularly when it comes to conversations around talent retention and attraction.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Ultimately, we are working to increase both the awareness and consideration of Michigan – whether it’s a site selector looking for the best site for an expansion, a CEO in Michigan looking to grow business opportunities in the state, talent considering where they should live and work, or a traveler planning their next vacation.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are also working over the coming year to build a talent campaign to continue growing awareness and consideration of Michigan among key talent looking for a place to build a career and a life for themselv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3735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WHAT WE ARE DOING AS AN ORGANIZATION TO MEET TODAY’S REA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914400" algn="l"/>
              </a:tabLst>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s we move forward, we’re laser-focused on making sure we as MEDC are preparing to respond to today’s reality while forging a path toward greatness for all of Michigan.</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This is the exact effort that I committed to spearheading when I was brought on as the leader of this incredible team.</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Grateful to continue working with all of you to make our vision of greatness a reality in Michigan.</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EDC is evolving to meet today’s reality while staying laser-focused on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building and maintaining a moat around our in-state businesses, making strategic bets on the futu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EDC needs to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be recognized by our peers across the country as the best economic development organization</a:t>
            </a:r>
            <a:r>
              <a:rPr lang="en-US" sz="1100" dirty="0">
                <a:effectLst/>
                <a:latin typeface="Calibri" panose="020F0502020204030204" pitchFamily="34" charset="0"/>
                <a:ea typeface="Calibri" panose="020F0502020204030204" pitchFamily="34" charset="0"/>
                <a:cs typeface="Times New Roman" panose="02020603050405020304" pitchFamily="18" charset="0"/>
              </a:rPr>
              <a:t> in the nation.</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By working together, being creative and staying focused on the people who we serve, we will make sure MEDC – and all of Michigan – sets the standard of excellence for economic development across our country.</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Continuing to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be our own best advocates and tell the most compelling Michigan story</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By working collaboratively with every single one of you as partners in making a strong case for Michigan, we are going to put the world on notice that Michigan is a top destination for both business and travel.</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aking sure that no matter where our customers are – whether they’re in urban, suburban or rural communities of the state – our work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is regionally relevant to every single Michigander we ser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Staying laser-focused on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expanding and growing our orientation to customer service and a partner-centric approach to economic development</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e wouldn’t be successful without our strong partnerships and our dedicated and loyal customers in businesses, communities and regions across the state.</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Focused on not only winning but making sure we offer the highest quality of customer service and support every step of the wa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68519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CLOSING SLID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ank them for inviting you; open up to questions if time allow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689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DEFINING ECONOMIC DEVELOPM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Important to level-set what we mean when we talk about economic development – because it’s a big tent!</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Yes, it means the projects we read about in the papers – the transformational projects from Ford, GM, Our Next Energy and Gotion.</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But it’s also so much more – it’s about:</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Supporting placemaking investments</a:t>
            </a:r>
            <a:r>
              <a:rPr lang="en-US" sz="1100" dirty="0">
                <a:effectLst/>
                <a:latin typeface="Calibri" panose="020F0502020204030204" pitchFamily="34" charset="0"/>
                <a:ea typeface="Calibri" panose="020F0502020204030204" pitchFamily="34" charset="0"/>
                <a:cs typeface="Times New Roman" panose="02020603050405020304" pitchFamily="18" charset="0"/>
              </a:rPr>
              <a:t> in communities across the state to make them places where talent wants to live and businesses want to be</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roviding buyer/supplier matchmaking opportunities </a:t>
            </a:r>
            <a:r>
              <a:rPr lang="en-US" sz="1100" dirty="0">
                <a:effectLst/>
                <a:latin typeface="Calibri" panose="020F0502020204030204" pitchFamily="34" charset="0"/>
                <a:ea typeface="Calibri" panose="020F0502020204030204" pitchFamily="34" charset="0"/>
                <a:cs typeface="Times New Roman" panose="02020603050405020304" pitchFamily="18" charset="0"/>
              </a:rPr>
              <a:t>to help our great Michigan companies secure new business</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Expanding into international markets </a:t>
            </a:r>
            <a:r>
              <a:rPr lang="en-US" sz="1100" dirty="0">
                <a:effectLst/>
                <a:latin typeface="Calibri" panose="020F0502020204030204" pitchFamily="34" charset="0"/>
                <a:ea typeface="Calibri" panose="020F0502020204030204" pitchFamily="34" charset="0"/>
                <a:cs typeface="Times New Roman" panose="02020603050405020304" pitchFamily="18" charset="0"/>
              </a:rPr>
              <a:t>for Michigan risktakers and businesses to grow their customers</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Accelerating startup opportunities </a:t>
            </a:r>
            <a:r>
              <a:rPr lang="en-US" sz="1100" dirty="0">
                <a:effectLst/>
                <a:latin typeface="Calibri" panose="020F0502020204030204" pitchFamily="34" charset="0"/>
                <a:ea typeface="Calibri" panose="020F0502020204030204" pitchFamily="34" charset="0"/>
                <a:cs typeface="Times New Roman" panose="02020603050405020304" pitchFamily="18" charset="0"/>
              </a:rPr>
              <a:t>for researchers in universities and throughout the state</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Helping small businesses grow </a:t>
            </a:r>
            <a:r>
              <a:rPr lang="en-US" sz="1100" dirty="0">
                <a:effectLst/>
                <a:latin typeface="Calibri" panose="020F0502020204030204" pitchFamily="34" charset="0"/>
                <a:ea typeface="Calibri" panose="020F0502020204030204" pitchFamily="34" charset="0"/>
                <a:cs typeface="Times New Roman" panose="02020603050405020304" pitchFamily="18" charset="0"/>
              </a:rPr>
              <a:t>with implementing Industry 4.0 technologies and accessing federal resources that are available </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romoting Michigan as a place to visit</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and explore through Pure Michigan</a:t>
            </a:r>
          </a:p>
          <a:p>
            <a:pPr marL="742950" marR="0" lvl="1" indent="-2857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rotect and rehabilitate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our historic places that bring us so much pride to call ourselves Michiganders and foster so much appreciation for our towns and communities</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Beyond our robust programs, we also have a strong internal team at MEDC to provide and prioritize excellence in customer service support.</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Committed to making sure everyone sees themselves in the work we do at MEDC.</a:t>
            </a:r>
          </a:p>
          <a:p>
            <a:pPr marL="0" marR="0">
              <a:lnSpc>
                <a:spcPct val="106000"/>
              </a:lnSpc>
              <a:spcBef>
                <a:spcPts val="0"/>
              </a:spcBef>
              <a:spcAft>
                <a:spcPts val="800"/>
              </a:spcAft>
            </a:pPr>
            <a:endParaRPr lang="en-US" sz="11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429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b="1" u="sng" dirty="0">
                <a:effectLst/>
                <a:latin typeface="Calibri" panose="020F0502020204030204" pitchFamily="34" charset="0"/>
                <a:ea typeface="Calibri" panose="020F0502020204030204" pitchFamily="34" charset="0"/>
              </a:rPr>
              <a:t>Highlighting accomplishments that we have achieved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rPr>
              <a:t>Achieved so much together in the past year that has positioned us today to create even more long-term opportunities and success for the people and businesses who call our state home.</a:t>
            </a: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 </a:t>
            </a:r>
          </a:p>
          <a:p>
            <a:pPr marL="742950" marR="0" lvl="1" indent="-285750">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EDC continued to drive home its regional relevancy across Michigan’s 83 counties:</a:t>
            </a:r>
          </a:p>
          <a:p>
            <a:pPr marL="1200150" marR="0" lvl="2" indent="-285750">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Leveraged $600 million in private investment to support placemaking projects</a:t>
            </a:r>
          </a:p>
          <a:p>
            <a:pPr marL="1200150" marR="0" lvl="2" indent="-285750">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Helped start 121 new businesses</a:t>
            </a:r>
          </a:p>
          <a:p>
            <a:pPr marL="1200150" marR="0" lvl="2" indent="-285750">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Helped small businesses generate $5.2 billion in revenue through our state support</a:t>
            </a:r>
          </a:p>
          <a:p>
            <a:pPr marL="457200" marR="0" lvl="1" indent="0">
              <a:spcBef>
                <a:spcPts val="0"/>
              </a:spcBef>
              <a:spcAft>
                <a:spcPts val="0"/>
              </a:spcAft>
              <a:buFont typeface="Courier New" panose="02070309020205020404" pitchFamily="49" charset="0"/>
              <a:buNone/>
              <a:tabLst>
                <a:tab pos="9144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At the close of 2021,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legislative leaders took bold votes to approve legislation that puts Michigan in a position of strength and certainty</a:t>
            </a:r>
            <a:r>
              <a:rPr lang="en-US" sz="1100" dirty="0">
                <a:effectLst/>
                <a:latin typeface="Calibri" panose="020F0502020204030204" pitchFamily="34" charset="0"/>
                <a:ea typeface="Calibri" panose="020F0502020204030204" pitchFamily="34" charset="0"/>
                <a:cs typeface="Times New Roman" panose="02020603050405020304" pitchFamily="18" charset="0"/>
              </a:rPr>
              <a:t> as we work to secure transformational projects that will create economic opportunity for families and workers for generations.</a:t>
            </a:r>
          </a:p>
          <a:p>
            <a:pPr marL="1143000" marR="0" lvl="2" indent="-228600">
              <a:spcBef>
                <a:spcPts val="0"/>
              </a:spcBef>
              <a:spcAft>
                <a:spcPts val="0"/>
              </a:spcAft>
              <a:buFont typeface="Wingdings" panose="05000000000000000000" pitchFamily="2" charset="2"/>
              <a:buChar char=""/>
              <a:tabLst>
                <a:tab pos="1371600" algn="l"/>
              </a:tabLst>
            </a:pPr>
            <a:r>
              <a:rPr lang="en-US" sz="1100" dirty="0">
                <a:effectLst/>
                <a:latin typeface="Calibri" panose="020F0502020204030204" pitchFamily="34" charset="0"/>
                <a:ea typeface="Calibri" panose="020F0502020204030204" pitchFamily="34" charset="0"/>
              </a:rPr>
              <a:t>Throughout 2022, the SOAR Fund helped Michigan secure more than $13.5 billion in private investment in Michigan communities and create and retain nearly 13,000 jobs in the EV, battery manufacturing and semiconductor industries. </a:t>
            </a:r>
          </a:p>
          <a:p>
            <a:pPr marL="914400" marR="0">
              <a:spcBef>
                <a:spcPts val="0"/>
              </a:spcBef>
              <a:spcAft>
                <a:spcPts val="0"/>
              </a:spcAft>
            </a:pPr>
            <a:r>
              <a:rPr lang="en-US" sz="1100" dirty="0">
                <a:effectLst/>
                <a:latin typeface="Calibri" panose="020F0502020204030204" pitchFamily="34" charset="0"/>
                <a:ea typeface="Calibri" panose="020F0502020204030204" pitchFamily="34" charset="0"/>
              </a:rPr>
              <a:t> </a:t>
            </a:r>
          </a:p>
          <a:p>
            <a:pPr marL="742950" marR="0" lvl="1" indent="-285750">
              <a:spcBef>
                <a:spcPts val="0"/>
              </a:spcBef>
              <a:spcAft>
                <a:spcPts val="0"/>
              </a:spcAft>
              <a:buFont typeface="Courier New" panose="02070309020205020404" pitchFamily="49" charset="0"/>
              <a:buChar char="o"/>
              <a:tabLst>
                <a:tab pos="914400" algn="l"/>
              </a:tabLs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Michigan’s two largest electric utilities, Consumers Energy</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and DTE Electric, will now offer special rates for high-volume industrial customers </a:t>
            </a:r>
            <a:r>
              <a:rPr lang="en-US" sz="1100" dirty="0">
                <a:effectLst/>
                <a:latin typeface="Calibri" panose="020F0502020204030204" pitchFamily="34" charset="0"/>
                <a:ea typeface="Calibri" panose="020F0502020204030204" pitchFamily="34" charset="0"/>
                <a:cs typeface="Times New Roman" panose="02020603050405020304" pitchFamily="18" charset="0"/>
              </a:rPr>
              <a:t>thanks to an approval by the Michigan Public Service Commission.</a:t>
            </a:r>
          </a:p>
          <a:p>
            <a:pPr marL="1143000" marR="0" lvl="2" indent="-228600">
              <a:spcBef>
                <a:spcPts val="0"/>
              </a:spcBef>
              <a:spcAft>
                <a:spcPts val="0"/>
              </a:spcAft>
              <a:buFont typeface="Wingdings" panose="05000000000000000000" pitchFamily="2" charset="2"/>
              <a:buChar char=""/>
              <a:tabLst>
                <a:tab pos="1371600" algn="l"/>
              </a:tabLst>
            </a:pPr>
            <a:r>
              <a:rPr lang="en-US" sz="1100" dirty="0">
                <a:effectLst/>
                <a:latin typeface="Calibri" panose="020F0502020204030204" pitchFamily="34" charset="0"/>
                <a:ea typeface="Calibri" panose="020F0502020204030204" pitchFamily="34" charset="0"/>
              </a:rPr>
              <a:t>Helps MI compete with other states when companies look for sites to build facilities for producing electric vehicles, related components including batteries and semiconductors, and other advanced manufacturing. </a:t>
            </a: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780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Rectangle 7"/>
          <p:cNvSpPr>
            <a:spLocks noGrp="1" noChangeArrowheads="1"/>
          </p:cNvSpPr>
          <p:nvPr>
            <p:ph type="sldNum" sz="quarter" idx="5"/>
          </p:nvPr>
        </p:nvSpPr>
        <p:spPr>
          <a:xfrm>
            <a:off x="5995151" y="9738077"/>
            <a:ext cx="533614" cy="184666"/>
          </a:xfrm>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F662-4A7B-4790-AA86-DA328320AAC4}" type="slidenum">
              <a:rPr kumimoji="0" lang="en-GB" sz="900" b="0" i="0" u="none" strike="noStrike" kern="1200" cap="none" spc="0" normalizeH="0" baseline="0" noProof="0" smtClean="0">
                <a:ln>
                  <a:noFill/>
                </a:ln>
                <a:solidFill>
                  <a:srgbClr val="000000"/>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436226" name="doc id"/>
          <p:cNvSpPr>
            <a:spLocks noGrp="1" noChangeArrowheads="1"/>
          </p:cNvSpPr>
          <p:nvPr>
            <p:ph type="ftr" sz="quarter" idx="4"/>
          </p:nvPr>
        </p:nvSpPr>
        <p:spPr>
          <a:xfrm>
            <a:off x="5369793" y="114542"/>
            <a:ext cx="1158972" cy="123111"/>
          </a:xfrm>
          <a:noFill/>
          <a:ln>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000000"/>
                </a:solidFill>
                <a:effectLst/>
                <a:uLnTx/>
                <a:uFillTx/>
                <a:latin typeface="Arial"/>
                <a:ea typeface="+mn-ea"/>
                <a:cs typeface="Arial" charset="0"/>
              </a:rPr>
              <a:t>TOR-AAA123-20100608-</a:t>
            </a:r>
          </a:p>
        </p:txBody>
      </p:sp>
      <p:sp>
        <p:nvSpPr>
          <p:cNvPr id="436227" name="Rectangle 7"/>
          <p:cNvSpPr txBox="1">
            <a:spLocks noGrp="1" noChangeArrowheads="1"/>
          </p:cNvSpPr>
          <p:nvPr/>
        </p:nvSpPr>
        <p:spPr bwMode="auto">
          <a:xfrm>
            <a:off x="5995151" y="9738077"/>
            <a:ext cx="533614" cy="184666"/>
          </a:xfrm>
          <a:prstGeom prst="rect">
            <a:avLst/>
          </a:prstGeom>
          <a:noFill/>
          <a:ln w="9525">
            <a:noFill/>
            <a:miter lim="800000"/>
            <a:headEnd/>
            <a:tailEnd/>
          </a:ln>
        </p:spPr>
        <p:txBody>
          <a:bodyPr lIns="0" tIns="0" rIns="0" bIns="0" anchor="b">
            <a:spAutoFit/>
          </a:bodyPr>
          <a:lstStyle/>
          <a:p>
            <a:pPr marL="0" marR="0" lvl="0" indent="0" algn="r" defTabSz="911917" rtl="0" eaLnBrk="1" fontAlgn="auto" latinLnBrk="0" hangingPunct="1">
              <a:lnSpc>
                <a:spcPct val="100000"/>
              </a:lnSpc>
              <a:spcBef>
                <a:spcPts val="0"/>
              </a:spcBef>
              <a:spcAft>
                <a:spcPts val="0"/>
              </a:spcAft>
              <a:buClrTx/>
              <a:buSzTx/>
              <a:buFontTx/>
              <a:buNone/>
              <a:tabLst/>
              <a:defRPr/>
            </a:pPr>
            <a:fld id="{A53EE1CE-C3F8-4C21-BE9E-6435FCBA3907}" type="slidenum">
              <a:rPr kumimoji="0" lang="en-US" sz="1200" b="0" i="0" u="none" strike="noStrike" kern="1200" cap="none" spc="0" normalizeH="0" baseline="0" noProof="0">
                <a:ln>
                  <a:noFill/>
                </a:ln>
                <a:solidFill>
                  <a:srgbClr val="000000"/>
                </a:solidFill>
                <a:effectLst/>
                <a:uLnTx/>
                <a:uFillTx/>
                <a:latin typeface="Arial"/>
                <a:ea typeface="+mn-ea"/>
                <a:cs typeface="+mn-cs"/>
              </a:rPr>
              <a:pPr marL="0" marR="0" lvl="0" indent="0" algn="r" defTabSz="91191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36228" name="Rectangle 2"/>
          <p:cNvSpPr>
            <a:spLocks noGrp="1" noRot="1" noChangeAspect="1" noChangeArrowheads="1" noTextEdit="1"/>
          </p:cNvSpPr>
          <p:nvPr>
            <p:ph type="sldImg"/>
          </p:nvPr>
        </p:nvSpPr>
        <p:spPr>
          <a:xfrm>
            <a:off x="-2932113" y="2398713"/>
            <a:ext cx="13250863" cy="7454900"/>
          </a:xfrm>
          <a:ln/>
        </p:spPr>
      </p:sp>
      <p:sp>
        <p:nvSpPr>
          <p:cNvPr id="436229" name="Rectangle 3"/>
          <p:cNvSpPr>
            <a:spLocks noGrp="1" noChangeArrowheads="1"/>
          </p:cNvSpPr>
          <p:nvPr>
            <p:ph type="body" idx="1"/>
          </p:nvPr>
        </p:nvSpPr>
        <p:spPr>
          <a:xfrm>
            <a:off x="1301963" y="676134"/>
            <a:ext cx="4072094" cy="246221"/>
          </a:xfrm>
          <a:noFill/>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OUR WORLD HAS CHANGED SINCE COVI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world is different now than it was pre-COVID, impacting our workforce, small businesses, and the supply chain.</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Persistent COVID impacts require response. Labor force participation remains lower than our peers and pre-COVID levels, and employment remained 5% below the pre-pandemic level as of September 2021, exacerbating the challenges of an already shrinking population. Know this is especially relevant here in Barry County.</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Small businesses hit hard by the pandemic recession need support as they recover and endure ongoing market change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new emphasis and significant investment in more resilient supply chains provides an opportunity for Michigan, particularly in semiconductor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oves to rural areas demonstrate potential: While Michigan’s most distressed rural regions saw a 14% population decline pre-pandemic, they saw a 2% increase during the pandemic. Other regions also slowed declines.</a:t>
            </a:r>
          </a:p>
        </p:txBody>
      </p:sp>
    </p:spTree>
    <p:extLst>
      <p:ext uri="{BB962C8B-B14F-4D97-AF65-F5344CB8AC3E}">
        <p14:creationId xmlns:p14="http://schemas.microsoft.com/office/powerpoint/2010/main" val="970870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OUR PATH FORWAR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hile these challenges are big, we are up for the fight on Team Michigan.</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By working together across the state, we can continue to achieve greatness for our 10 million-plus friends and neighb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4850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CONSISTENC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Embrace a Team Michigan, whole of government approach to ensure our support is streamlined and simplified for customers every step of the way.</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 robust network of partners joining us in the work we’re do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43D18C-ABF3-314D-A276-B47498D38B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502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100" b="1" u="sng" dirty="0">
                <a:effectLst/>
                <a:latin typeface="Calibri" panose="020F0502020204030204" pitchFamily="34" charset="0"/>
                <a:ea typeface="Calibri" panose="020F0502020204030204" pitchFamily="34" charset="0"/>
                <a:cs typeface="Times New Roman" panose="02020603050405020304" pitchFamily="18" charset="0"/>
              </a:rPr>
              <a:t>WINNING IN OUR OWN BACKYARD: SUPPORTING SMALL BUSINESS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Made supporting small business a key focus area of our MEDC strategic plan to demonstrate our commitment to helping businesses of all sizes</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orking with a broad group of partners to ensure risk takers and small businesses have the resources they need to be successful – whether it’s:</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Federal funding through the State Small Business Credit Initiative</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Working with our Small Business Service and Support team at MEDC</a:t>
            </a:r>
          </a:p>
          <a:p>
            <a:pPr marL="742950" marR="0" lvl="1" indent="-285750">
              <a:lnSpc>
                <a:spcPct val="107000"/>
              </a:lnSpc>
              <a:spcBef>
                <a:spcPts val="0"/>
              </a:spcBef>
              <a:spcAft>
                <a:spcPts val="0"/>
              </a:spcAft>
              <a:buFont typeface="Courier New" panose="02070309020205020404" pitchFamily="49" charset="0"/>
              <a:buChar char="o"/>
              <a:tabLst>
                <a:tab pos="914400" algn="l"/>
              </a:tabLst>
            </a:pPr>
            <a:r>
              <a:rPr lang="en-US" sz="1100" dirty="0">
                <a:effectLst/>
                <a:latin typeface="Calibri" panose="020F0502020204030204" pitchFamily="34" charset="0"/>
                <a:ea typeface="Calibri" panose="020F0502020204030204" pitchFamily="34" charset="0"/>
                <a:cs typeface="Times New Roman" panose="02020603050405020304" pitchFamily="18" charset="0"/>
              </a:rPr>
              <a:t>Or tapping into our service providers like the Small Business Development Centers around the state.</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We’re focused on enabling regions, institutions and small businesses to thrive with distinct regional ident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100" dirty="0"/>
              <a:t> </a:t>
            </a:r>
          </a:p>
          <a:p>
            <a:pPr marL="0" marR="0">
              <a:lnSpc>
                <a:spcPct val="107000"/>
              </a:lnSpc>
              <a:spcBef>
                <a:spcPts val="0"/>
              </a:spcBef>
              <a:spcAft>
                <a:spcPts val="800"/>
              </a:spcAft>
            </a:pPr>
            <a:endParaRPr lang="en-US" sz="1100" b="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b="1" i="1" u="sng" kern="100" dirty="0">
                <a:effectLst/>
                <a:latin typeface="Calibri" panose="020F0502020204030204" pitchFamily="34" charset="0"/>
                <a:ea typeface="Calibri" panose="020F0502020204030204" pitchFamily="34" charset="0"/>
                <a:cs typeface="Times New Roman" panose="02020603050405020304" pitchFamily="18" charset="0"/>
              </a:rPr>
              <a:t>IF NEEDED: </a:t>
            </a:r>
            <a:r>
              <a:rPr lang="en-US" sz="1100" b="1" u="sng" kern="100" dirty="0">
                <a:effectLst/>
                <a:latin typeface="Calibri" panose="020F0502020204030204" pitchFamily="34" charset="0"/>
                <a:ea typeface="Calibri" panose="020F0502020204030204" pitchFamily="34" charset="0"/>
                <a:cs typeface="Times New Roman" panose="02020603050405020304" pitchFamily="18" charset="0"/>
              </a:rPr>
              <a:t>Utilizing State Small Business Credit Initiative</a:t>
            </a:r>
            <a:endParaRPr lang="en-US"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nother tool in our toolbox to support Michigan’s small businesses and tech-based startups is the State Small Business Credit Initiative (SSBCI) 2.0 funding from the U.S. Department of Treasury.</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In August 2022, Michigan began deploying funds from the first round of SSBCI 2.0 funding, with up to </a:t>
            </a:r>
            <a:r>
              <a:rPr lang="en-US" sz="1100" b="1" kern="100" dirty="0">
                <a:effectLst/>
                <a:latin typeface="Calibri" panose="020F0502020204030204" pitchFamily="34" charset="0"/>
                <a:ea typeface="Calibri" panose="020F0502020204030204" pitchFamily="34" charset="0"/>
                <a:cs typeface="Times New Roman" panose="02020603050405020304" pitchFamily="18" charset="0"/>
              </a:rPr>
              <a:t>$72 million</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 available to support loans to small businesses through MEDC’s Access to Capital programs, including:</a:t>
            </a:r>
          </a:p>
          <a:p>
            <a:pPr marL="1143000" marR="0" lvl="2" indent="-228600">
              <a:lnSpc>
                <a:spcPct val="107000"/>
              </a:lnSpc>
              <a:spcBef>
                <a:spcPts val="0"/>
              </a:spcBef>
              <a:spcAft>
                <a:spcPts val="0"/>
              </a:spcAft>
              <a:buFont typeface="Wingdings" panose="05000000000000000000" pitchFamily="2"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Collateral Support</a:t>
            </a:r>
          </a:p>
          <a:p>
            <a:pPr marL="1143000" marR="0" lvl="2" indent="-228600">
              <a:lnSpc>
                <a:spcPct val="107000"/>
              </a:lnSpc>
              <a:spcBef>
                <a:spcPts val="0"/>
              </a:spcBef>
              <a:spcAft>
                <a:spcPts val="0"/>
              </a:spcAft>
              <a:buFont typeface="Wingdings" panose="05000000000000000000" pitchFamily="2"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Loan Participation</a:t>
            </a:r>
          </a:p>
          <a:p>
            <a:pPr marL="1143000" marR="0" lvl="2" indent="-228600">
              <a:lnSpc>
                <a:spcPct val="107000"/>
              </a:lnSpc>
              <a:spcBef>
                <a:spcPts val="0"/>
              </a:spcBef>
              <a:spcAft>
                <a:spcPts val="0"/>
              </a:spcAft>
              <a:buFont typeface="Wingdings" panose="05000000000000000000" pitchFamily="2"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Loan Guarantee</a:t>
            </a:r>
          </a:p>
          <a:p>
            <a:pPr marL="1143000" marR="0" lvl="2" indent="-228600">
              <a:lnSpc>
                <a:spcPct val="107000"/>
              </a:lnSpc>
              <a:spcBef>
                <a:spcPts val="0"/>
              </a:spcBef>
              <a:spcAft>
                <a:spcPts val="0"/>
              </a:spcAft>
              <a:buFont typeface="Wingdings" panose="05000000000000000000" pitchFamily="2"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Capital Access Programs</a:t>
            </a:r>
          </a:p>
          <a:p>
            <a:pPr marL="1143000" marR="0" lvl="2" indent="-228600">
              <a:lnSpc>
                <a:spcPct val="107000"/>
              </a:lnSpc>
              <a:spcBef>
                <a:spcPts val="0"/>
              </a:spcBef>
              <a:spcAft>
                <a:spcPts val="0"/>
              </a:spcAft>
              <a:buFont typeface="Wingdings" panose="05000000000000000000" pitchFamily="2"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Equity investments for early-stage, technology-based businesses in Michigan as part of the </a:t>
            </a:r>
            <a:r>
              <a:rPr lang="en-US" sz="1100" b="1" kern="100" dirty="0">
                <a:effectLst/>
                <a:latin typeface="Calibri" panose="020F0502020204030204" pitchFamily="34" charset="0"/>
                <a:ea typeface="Calibri" panose="020F0502020204030204" pitchFamily="34" charset="0"/>
                <a:cs typeface="Times New Roman" panose="02020603050405020304" pitchFamily="18" charset="0"/>
              </a:rPr>
              <a:t>Small Business Venture Capital Program</a:t>
            </a: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Michigan was one of only five states to be approved for funding through this round of SSBCI awards, intended to increase access to capital and promote entrepreneurship, especially in traditionally underserved communities as they emerge from the pandemic</a:t>
            </a:r>
          </a:p>
          <a:p>
            <a:pPr marL="742950" marR="0" lvl="1" indent="-285750">
              <a:lnSpc>
                <a:spcPct val="107000"/>
              </a:lnSpc>
              <a:spcBef>
                <a:spcPts val="0"/>
              </a:spcBef>
              <a:spcAft>
                <a:spcPts val="0"/>
              </a:spcAft>
              <a:buFont typeface="Courier New" panose="02070309020205020404" pitchFamily="49" charset="0"/>
              <a:buChar char="o"/>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SSBCI funding is expected to catalyze up to $10 of private investment for every $1 of SSBCI capital funding</a:t>
            </a:r>
          </a:p>
          <a:p>
            <a:pPr marL="342900" marR="0" lvl="0" indent="-342900">
              <a:lnSpc>
                <a:spcPct val="107000"/>
              </a:lnSpc>
              <a:spcBef>
                <a:spcPts val="0"/>
              </a:spcBef>
              <a:spcAft>
                <a:spcPts val="800"/>
              </a:spcAft>
              <a:buFont typeface="Symbol" panose="05050102010706020507" pitchFamily="18" charset="2"/>
              <a:buChar char=""/>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 are committed to deploying every federal and state resource available to spark additional innovation and economic opportunity here in Michigan</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76"/>
                </a:solidFill>
                <a:effectLst/>
                <a:uLnTx/>
                <a:uFillTx/>
                <a:latin typeface="Arial" panose="020B0604020202020204" pitchFamily="34" charset="0"/>
                <a:ea typeface="Open Sans" panose="020B0606030504020204" pitchFamily="34" charset="0"/>
                <a:cs typeface="Arial" panose="020B0604020202020204" pitchFamily="34" charset="0"/>
              </a:rPr>
              <a:t>$72 million to support loans to small businesses intended to increase access to capital and promote entrepreneurship, especially in traditionally underserved communities as they emerge from the pandemic</a:t>
            </a:r>
          </a:p>
          <a:p>
            <a:endParaRPr lang="en-US" dirty="0"/>
          </a:p>
        </p:txBody>
      </p:sp>
      <p:sp>
        <p:nvSpPr>
          <p:cNvPr id="4" name="Slide Number Placeholder 3"/>
          <p:cNvSpPr>
            <a:spLocks noGrp="1"/>
          </p:cNvSpPr>
          <p:nvPr>
            <p:ph type="sldNum" sz="quarter" idx="5"/>
          </p:nvPr>
        </p:nvSpPr>
        <p:spPr/>
        <p:txBody>
          <a:bodyPr/>
          <a:lstStyle/>
          <a:p>
            <a:fld id="{F8CADC71-28C3-4C04-B927-F085FC92DE07}" type="slidenum">
              <a:rPr lang="en-US" smtClean="0"/>
              <a:t>7</a:t>
            </a:fld>
            <a:endParaRPr lang="en-US" dirty="0"/>
          </a:p>
        </p:txBody>
      </p:sp>
    </p:spTree>
    <p:extLst>
      <p:ext uri="{BB962C8B-B14F-4D97-AF65-F5344CB8AC3E}">
        <p14:creationId xmlns:p14="http://schemas.microsoft.com/office/powerpoint/2010/main" val="21267125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WINNING IN OUR OWN BACKYARD: OFFICE OF RURAL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are laser-focused on connecting risk-takers, small businesses and startups throughout urban, suburban and rural areas with the resources and support they need.</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re also building on our work to encourage economic growth throughout the state through our support of the newly created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Michigan Office of Rural Development</a:t>
            </a:r>
            <a:r>
              <a:rPr lang="en-US" sz="1800" dirty="0">
                <a:effectLst/>
                <a:latin typeface="Calibri" panose="020F0502020204030204" pitchFamily="34" charset="0"/>
                <a:ea typeface="Calibri" panose="020F0502020204030204" pitchFamily="34" charset="0"/>
                <a:cs typeface="Times New Roman" panose="02020603050405020304" pitchFamily="18" charset="0"/>
              </a:rPr>
              <a:t>, working in partnership with Director McDowell – who I have monthly meetings with to collaborate and share opportunities – along with others to create greater equity in economic opportunities in all Michigan communities.</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t the MEDC, we are committed to doing everything we can to make sure our impact is felt by rural, urban and suburban communities alike, because we know that economic development only matters because </a:t>
            </a:r>
            <a:r>
              <a:rPr lang="en-US" sz="1800" u="sng" dirty="0">
                <a:effectLst/>
                <a:latin typeface="Calibri" panose="020F0502020204030204" pitchFamily="34" charset="0"/>
                <a:ea typeface="Calibri" panose="020F0502020204030204" pitchFamily="34" charset="0"/>
                <a:cs typeface="Times New Roman" panose="02020603050405020304" pitchFamily="18" charset="0"/>
              </a:rPr>
              <a:t>people</a:t>
            </a:r>
            <a:r>
              <a:rPr lang="en-US" sz="1800" dirty="0">
                <a:effectLst/>
                <a:latin typeface="Calibri" panose="020F0502020204030204" pitchFamily="34" charset="0"/>
                <a:ea typeface="Calibri" panose="020F0502020204030204" pitchFamily="34" charset="0"/>
                <a:cs typeface="Times New Roman" panose="02020603050405020304" pitchFamily="18" charset="0"/>
              </a:rPr>
              <a:t> matt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CFA62F-C7EC-438B-8064-8DF4285682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464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WINNING IN OUR OWN BACKYARD: REGIONAL PROSPERIT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ur efforts remain guided by our strategic plan to enable upward economic mobility for all our 10 million-plus friends and neighbo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MEDC Team lives, works and plays in every region of the state. Our staff is intentionally spread out among every prosperity region to make sure we are on the ground and supporting the local needs of each community every step of the way.</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doing so, we support Michiganders and communities across every single corner of the state.</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From high-tech entrepreneurs and startups to small businesses, Michigan’s tourism industry workforce and more – we are committed to making sure everyone sees themselves in Michigan’s economic success.</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New Regional Prosperity Team and SVP of Regional Prosperity Matt McCauley working with communities across the state to provide dedicated and personalized support.</a:t>
            </a: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ogether, we may be two peninsulas but we have one shared destiny on Team Michigan. </a:t>
            </a: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I brought in visuals from how QLM talked about it per Matt on the slide maggie did. Including the tps here: </a:t>
            </a: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800"/>
              </a:spcAft>
            </a:pPr>
            <a:r>
              <a:rPr lang="en-US" sz="1800" b="1"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GIONAL IMPAC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s we work to achieve these goals, our efforts remain guided by our strategic plan to enable upward economic mobility for all our 10 million-plus friends and neighbo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800"/>
              </a:spcAft>
            </a:pP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As we work to realign our strategic plan, we are doing so with a focus on being </a:t>
            </a: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transformational </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how we are driving impact statewide and supporting regional strategies); </a:t>
            </a: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customer-focused</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being consistent, streamlined approach, timely in decision making, proactive, and stronger individual accountability); and embracing an approach that’s defined by </a:t>
            </a: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ingenuity and innovation</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focusing on collaboration and creative thinking and approaches). Throughout this process, we are prioritizing four key areas that will drive our ultimate impact and success both operationally and organizationall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800"/>
              </a:spcAft>
            </a:pP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People</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Take a team cross-collaborative approach focused on serving customers rather than being driven by programs. Eliminate silos and engage more directly and effectively with our customers. Align with implementation of the strategic plan while driving regional impact statewide. Serve as concierges to our customers, stakeholders and partners. Determine how we can support a culture that creates an environment for engagement, inclusion, and suppor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Process</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Streamline our efforts with customer responsiveness in mind. Focus on mitigating, not eliminating risk, and clearly identify ownership and accountability for execu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Tools</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Ensure programs are designed to impact the strategic plan. Shift to flexibility within programs so we can more effectively problem solve. Focus on what is needed from a local and regional level rather than top down while maintaining alignment with the strategic pla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b="1"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Metrics</a:t>
            </a:r>
            <a:r>
              <a:rPr lang="en-US" sz="1800" dirty="0">
                <a:solidFill>
                  <a:srgbClr val="E7E6E6"/>
                </a:solidFill>
                <a:effectLst/>
                <a:latin typeface="Calibri" panose="020F0502020204030204" pitchFamily="34" charset="0"/>
                <a:ea typeface="Calibri" panose="020F0502020204030204" pitchFamily="34" charset="0"/>
                <a:cs typeface="Times New Roman" panose="02020603050405020304" pitchFamily="18" charset="0"/>
              </a:rPr>
              <a:t>: Ensure our efforts are driving toward the outcomes we aim to achieve. Focus on whether our efforts are driving individual behavior and overall culture of the organization in a way that helps employees feel empowered to make an impact across the stat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800"/>
              </a:spcAft>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tably around our focus on being regionally relevant to every community throughout the stat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D and BD Process Improvements/Align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Relationships- not a series of transac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Be more demand driven than befo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ositive, “Can Do” Attitud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Northern Michigan Contacts- Tino Breithaupt, Dan Leonard, Jessie Mitchell, Jen Tucker….Matt McCauley locally based, but oversees state tea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8362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7.emf"/></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727.xml"/><Relationship Id="rId13" Type="http://schemas.openxmlformats.org/officeDocument/2006/relationships/image" Target="../media/image26.png"/><Relationship Id="rId3" Type="http://schemas.openxmlformats.org/officeDocument/2006/relationships/tags" Target="../tags/tag722.xml"/><Relationship Id="rId7" Type="http://schemas.openxmlformats.org/officeDocument/2006/relationships/tags" Target="../tags/tag726.xml"/><Relationship Id="rId12" Type="http://schemas.openxmlformats.org/officeDocument/2006/relationships/image" Target="../media/image10.png"/><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tags" Target="../tags/tag725.xml"/><Relationship Id="rId11" Type="http://schemas.openxmlformats.org/officeDocument/2006/relationships/image" Target="../media/image3.emf"/><Relationship Id="rId5" Type="http://schemas.openxmlformats.org/officeDocument/2006/relationships/tags" Target="../tags/tag724.xml"/><Relationship Id="rId10" Type="http://schemas.openxmlformats.org/officeDocument/2006/relationships/oleObject" Target="../embeddings/oleObject98.bin"/><Relationship Id="rId4" Type="http://schemas.openxmlformats.org/officeDocument/2006/relationships/tags" Target="../tags/tag723.xml"/><Relationship Id="rId9" Type="http://schemas.openxmlformats.org/officeDocument/2006/relationships/slideMaster" Target="../slideMasters/slideMaster9.xml"/><Relationship Id="rId14" Type="http://schemas.microsoft.com/office/2007/relationships/hdphoto" Target="../media/hdphoto11.wdp"/></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5.xml"/><Relationship Id="rId13" Type="http://schemas.openxmlformats.org/officeDocument/2006/relationships/image" Target="../media/image26.png"/><Relationship Id="rId3" Type="http://schemas.openxmlformats.org/officeDocument/2006/relationships/tags" Target="../tags/tag730.xml"/><Relationship Id="rId7" Type="http://schemas.openxmlformats.org/officeDocument/2006/relationships/tags" Target="../tags/tag734.xml"/><Relationship Id="rId12" Type="http://schemas.openxmlformats.org/officeDocument/2006/relationships/image" Target="../media/image10.png"/><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image" Target="../media/image3.emf"/><Relationship Id="rId5" Type="http://schemas.openxmlformats.org/officeDocument/2006/relationships/tags" Target="../tags/tag732.xml"/><Relationship Id="rId10" Type="http://schemas.openxmlformats.org/officeDocument/2006/relationships/oleObject" Target="../embeddings/oleObject99.bin"/><Relationship Id="rId4" Type="http://schemas.openxmlformats.org/officeDocument/2006/relationships/tags" Target="../tags/tag731.xml"/><Relationship Id="rId9" Type="http://schemas.openxmlformats.org/officeDocument/2006/relationships/slideMaster" Target="../slideMasters/slideMaster9.xml"/><Relationship Id="rId14" Type="http://schemas.microsoft.com/office/2007/relationships/hdphoto" Target="../media/hdphoto11.wdp"/></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743.xml"/><Relationship Id="rId13" Type="http://schemas.openxmlformats.org/officeDocument/2006/relationships/image" Target="../media/image26.png"/><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10.png"/><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image" Target="../media/image12.emf"/><Relationship Id="rId5" Type="http://schemas.openxmlformats.org/officeDocument/2006/relationships/tags" Target="../tags/tag740.xml"/><Relationship Id="rId10" Type="http://schemas.openxmlformats.org/officeDocument/2006/relationships/oleObject" Target="../embeddings/oleObject100.bin"/><Relationship Id="rId4" Type="http://schemas.openxmlformats.org/officeDocument/2006/relationships/tags" Target="../tags/tag739.xml"/><Relationship Id="rId9" Type="http://schemas.openxmlformats.org/officeDocument/2006/relationships/slideMaster" Target="../slideMasters/slideMaster9.xml"/><Relationship Id="rId14" Type="http://schemas.microsoft.com/office/2007/relationships/hdphoto" Target="../media/hdphoto11.wdp"/></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751.xml"/><Relationship Id="rId13" Type="http://schemas.openxmlformats.org/officeDocument/2006/relationships/image" Target="../media/image26.png"/><Relationship Id="rId3" Type="http://schemas.openxmlformats.org/officeDocument/2006/relationships/tags" Target="../tags/tag746.xml"/><Relationship Id="rId7" Type="http://schemas.openxmlformats.org/officeDocument/2006/relationships/tags" Target="../tags/tag750.xml"/><Relationship Id="rId12" Type="http://schemas.openxmlformats.org/officeDocument/2006/relationships/image" Target="../media/image10.png"/><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image" Target="../media/image3.emf"/><Relationship Id="rId5" Type="http://schemas.openxmlformats.org/officeDocument/2006/relationships/tags" Target="../tags/tag748.xml"/><Relationship Id="rId10" Type="http://schemas.openxmlformats.org/officeDocument/2006/relationships/oleObject" Target="../embeddings/oleObject101.bin"/><Relationship Id="rId4" Type="http://schemas.openxmlformats.org/officeDocument/2006/relationships/tags" Target="../tags/tag747.xml"/><Relationship Id="rId9" Type="http://schemas.openxmlformats.org/officeDocument/2006/relationships/slideMaster" Target="../slideMasters/slideMaster9.xml"/><Relationship Id="rId14" Type="http://schemas.microsoft.com/office/2007/relationships/hdphoto" Target="../media/hdphoto11.wdp"/></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102.bin"/><Relationship Id="rId13" Type="http://schemas.openxmlformats.org/officeDocument/2006/relationships/image" Target="../media/image15.png"/><Relationship Id="rId3" Type="http://schemas.openxmlformats.org/officeDocument/2006/relationships/tags" Target="../tags/tag754.xml"/><Relationship Id="rId7" Type="http://schemas.openxmlformats.org/officeDocument/2006/relationships/slideMaster" Target="../slideMasters/slideMaster9.xml"/><Relationship Id="rId12" Type="http://schemas.openxmlformats.org/officeDocument/2006/relationships/image" Target="../media/image14.png"/><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11" Type="http://schemas.microsoft.com/office/2007/relationships/hdphoto" Target="../media/hdphoto7.wdp"/><Relationship Id="rId5" Type="http://schemas.openxmlformats.org/officeDocument/2006/relationships/tags" Target="../tags/tag756.xml"/><Relationship Id="rId10" Type="http://schemas.openxmlformats.org/officeDocument/2006/relationships/image" Target="../media/image13.png"/><Relationship Id="rId4" Type="http://schemas.openxmlformats.org/officeDocument/2006/relationships/tags" Target="../tags/tag755.xml"/><Relationship Id="rId9" Type="http://schemas.openxmlformats.org/officeDocument/2006/relationships/image" Target="../media/image7.emf"/><Relationship Id="rId14" Type="http://schemas.microsoft.com/office/2007/relationships/hdphoto" Target="../media/hdphoto8.wdp"/></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760.xml"/><Relationship Id="rId7" Type="http://schemas.openxmlformats.org/officeDocument/2006/relationships/image" Target="../media/image7.emf"/><Relationship Id="rId2" Type="http://schemas.openxmlformats.org/officeDocument/2006/relationships/tags" Target="../tags/tag759.xml"/><Relationship Id="rId1" Type="http://schemas.openxmlformats.org/officeDocument/2006/relationships/tags" Target="../tags/tag758.xml"/><Relationship Id="rId6" Type="http://schemas.openxmlformats.org/officeDocument/2006/relationships/oleObject" Target="../embeddings/oleObject103.bin"/><Relationship Id="rId5" Type="http://schemas.openxmlformats.org/officeDocument/2006/relationships/slideMaster" Target="../slideMasters/slideMaster9.xml"/><Relationship Id="rId4" Type="http://schemas.openxmlformats.org/officeDocument/2006/relationships/tags" Target="../tags/tag761.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3.xml"/><Relationship Id="rId1" Type="http://schemas.openxmlformats.org/officeDocument/2006/relationships/tags" Target="../tags/tag762.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04.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766.xml"/><Relationship Id="rId2" Type="http://schemas.openxmlformats.org/officeDocument/2006/relationships/tags" Target="../tags/tag765.xml"/><Relationship Id="rId1" Type="http://schemas.openxmlformats.org/officeDocument/2006/relationships/tags" Target="../tags/tag764.xml"/><Relationship Id="rId5" Type="http://schemas.openxmlformats.org/officeDocument/2006/relationships/slideMaster" Target="../slideMasters/slideMaster9.xml"/><Relationship Id="rId4" Type="http://schemas.openxmlformats.org/officeDocument/2006/relationships/tags" Target="../tags/tag76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770.xml"/><Relationship Id="rId2" Type="http://schemas.openxmlformats.org/officeDocument/2006/relationships/tags" Target="../tags/tag769.xml"/><Relationship Id="rId1" Type="http://schemas.openxmlformats.org/officeDocument/2006/relationships/tags" Target="../tags/tag768.xml"/><Relationship Id="rId5" Type="http://schemas.openxmlformats.org/officeDocument/2006/relationships/slideMaster" Target="../slideMasters/slideMaster9.xml"/><Relationship Id="rId4" Type="http://schemas.openxmlformats.org/officeDocument/2006/relationships/tags" Target="../tags/tag77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7.emf"/><Relationship Id="rId4" Type="http://schemas.openxmlformats.org/officeDocument/2006/relationships/tags" Target="../tags/tag54.xml"/><Relationship Id="rId9" Type="http://schemas.openxmlformats.org/officeDocument/2006/relationships/oleObject" Target="../embeddings/oleObject7.bin"/></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74.xml"/><Relationship Id="rId7" Type="http://schemas.openxmlformats.org/officeDocument/2006/relationships/tags" Target="../tags/tag778.xml"/><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tags" Target="../tags/tag777.xml"/><Relationship Id="rId5" Type="http://schemas.openxmlformats.org/officeDocument/2006/relationships/tags" Target="../tags/tag776.xml"/><Relationship Id="rId10" Type="http://schemas.openxmlformats.org/officeDocument/2006/relationships/image" Target="../media/image3.emf"/><Relationship Id="rId4" Type="http://schemas.openxmlformats.org/officeDocument/2006/relationships/tags" Target="../tags/tag775.xml"/><Relationship Id="rId9" Type="http://schemas.openxmlformats.org/officeDocument/2006/relationships/oleObject" Target="../embeddings/oleObject105.bin"/></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tags" Target="../tags/tag779.x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3.emf"/><Relationship Id="rId4" Type="http://schemas.openxmlformats.org/officeDocument/2006/relationships/tags" Target="../tags/tag782.xml"/><Relationship Id="rId9" Type="http://schemas.openxmlformats.org/officeDocument/2006/relationships/oleObject" Target="../embeddings/oleObject106.bin"/></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88.xml"/><Relationship Id="rId7" Type="http://schemas.openxmlformats.org/officeDocument/2006/relationships/tags" Target="../tags/tag792.xml"/><Relationship Id="rId2" Type="http://schemas.openxmlformats.org/officeDocument/2006/relationships/tags" Target="../tags/tag787.xml"/><Relationship Id="rId1" Type="http://schemas.openxmlformats.org/officeDocument/2006/relationships/tags" Target="../tags/tag786.xml"/><Relationship Id="rId6" Type="http://schemas.openxmlformats.org/officeDocument/2006/relationships/tags" Target="../tags/tag791.xml"/><Relationship Id="rId5" Type="http://schemas.openxmlformats.org/officeDocument/2006/relationships/tags" Target="../tags/tag790.xml"/><Relationship Id="rId10" Type="http://schemas.openxmlformats.org/officeDocument/2006/relationships/image" Target="../media/image3.emf"/><Relationship Id="rId4" Type="http://schemas.openxmlformats.org/officeDocument/2006/relationships/tags" Target="../tags/tag789.xml"/><Relationship Id="rId9" Type="http://schemas.openxmlformats.org/officeDocument/2006/relationships/oleObject" Target="../embeddings/oleObject107.bin"/></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95.xml"/><Relationship Id="rId7" Type="http://schemas.openxmlformats.org/officeDocument/2006/relationships/tags" Target="../tags/tag799.xml"/><Relationship Id="rId2" Type="http://schemas.openxmlformats.org/officeDocument/2006/relationships/tags" Target="../tags/tag794.xml"/><Relationship Id="rId1" Type="http://schemas.openxmlformats.org/officeDocument/2006/relationships/tags" Target="../tags/tag793.xml"/><Relationship Id="rId6" Type="http://schemas.openxmlformats.org/officeDocument/2006/relationships/tags" Target="../tags/tag798.xml"/><Relationship Id="rId5" Type="http://schemas.openxmlformats.org/officeDocument/2006/relationships/tags" Target="../tags/tag797.xml"/><Relationship Id="rId10" Type="http://schemas.openxmlformats.org/officeDocument/2006/relationships/image" Target="../media/image3.emf"/><Relationship Id="rId4" Type="http://schemas.openxmlformats.org/officeDocument/2006/relationships/tags" Target="../tags/tag796.xml"/><Relationship Id="rId9" Type="http://schemas.openxmlformats.org/officeDocument/2006/relationships/oleObject" Target="../embeddings/oleObject108.bin"/></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02.xml"/><Relationship Id="rId7" Type="http://schemas.openxmlformats.org/officeDocument/2006/relationships/tags" Target="../tags/tag806.xml"/><Relationship Id="rId2" Type="http://schemas.openxmlformats.org/officeDocument/2006/relationships/tags" Target="../tags/tag801.xml"/><Relationship Id="rId1" Type="http://schemas.openxmlformats.org/officeDocument/2006/relationships/tags" Target="../tags/tag800.xml"/><Relationship Id="rId6" Type="http://schemas.openxmlformats.org/officeDocument/2006/relationships/tags" Target="../tags/tag805.xml"/><Relationship Id="rId5" Type="http://schemas.openxmlformats.org/officeDocument/2006/relationships/tags" Target="../tags/tag804.xml"/><Relationship Id="rId10" Type="http://schemas.openxmlformats.org/officeDocument/2006/relationships/image" Target="../media/image3.emf"/><Relationship Id="rId4" Type="http://schemas.openxmlformats.org/officeDocument/2006/relationships/tags" Target="../tags/tag803.xml"/><Relationship Id="rId9" Type="http://schemas.openxmlformats.org/officeDocument/2006/relationships/oleObject" Target="../embeddings/oleObject10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5.xml"/><Relationship Id="rId1" Type="http://schemas.openxmlformats.org/officeDocument/2006/relationships/tags" Target="../tags/tag824.xml"/><Relationship Id="rId6" Type="http://schemas.openxmlformats.org/officeDocument/2006/relationships/image" Target="../media/image28.jpeg"/><Relationship Id="rId5" Type="http://schemas.openxmlformats.org/officeDocument/2006/relationships/image" Target="../media/image23.emf"/><Relationship Id="rId4" Type="http://schemas.openxmlformats.org/officeDocument/2006/relationships/oleObject" Target="../embeddings/oleObject11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7.xml"/><Relationship Id="rId1" Type="http://schemas.openxmlformats.org/officeDocument/2006/relationships/tags" Target="../tags/tag826.xml"/><Relationship Id="rId5" Type="http://schemas.openxmlformats.org/officeDocument/2006/relationships/image" Target="../media/image25.emf"/><Relationship Id="rId4" Type="http://schemas.openxmlformats.org/officeDocument/2006/relationships/oleObject" Target="../embeddings/oleObject112.bin"/></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11.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 Id="rId14" Type="http://schemas.microsoft.com/office/2007/relationships/hdphoto" Target="../media/hdphoto3.wdp"/></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1.tiff"/><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29.xml"/><Relationship Id="rId1" Type="http://schemas.openxmlformats.org/officeDocument/2006/relationships/tags" Target="../tags/tag828.xml"/><Relationship Id="rId5" Type="http://schemas.openxmlformats.org/officeDocument/2006/relationships/image" Target="../media/image25.emf"/><Relationship Id="rId4" Type="http://schemas.openxmlformats.org/officeDocument/2006/relationships/oleObject" Target="../embeddings/oleObject113.bin"/></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11.xml"/><Relationship Id="rId1" Type="http://schemas.openxmlformats.org/officeDocument/2006/relationships/tags" Target="../tags/tag830.xml"/><Relationship Id="rId4" Type="http://schemas.openxmlformats.org/officeDocument/2006/relationships/image" Target="../media/image32.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1.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0.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 Id="rId14" Type="http://schemas.microsoft.com/office/2007/relationships/hdphoto" Target="../media/hdphoto3.wdp"/></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3.xml"/><Relationship Id="rId1" Type="http://schemas.openxmlformats.org/officeDocument/2006/relationships/tags" Target="../tags/tag832.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33.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3.xml"/><Relationship Id="rId1" Type="http://schemas.openxmlformats.org/officeDocument/2006/relationships/tags" Target="../tags/tag833.xml"/><Relationship Id="rId4" Type="http://schemas.openxmlformats.org/officeDocument/2006/relationships/image" Target="../media/image3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13.xml"/><Relationship Id="rId1" Type="http://schemas.openxmlformats.org/officeDocument/2006/relationships/tags" Target="../tags/tag834.xml"/><Relationship Id="rId4" Type="http://schemas.openxmlformats.org/officeDocument/2006/relationships/image" Target="../media/image33.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3.xml"/><Relationship Id="rId1" Type="http://schemas.openxmlformats.org/officeDocument/2006/relationships/tags" Target="../tags/tag835.xml"/><Relationship Id="rId4" Type="http://schemas.openxmlformats.org/officeDocument/2006/relationships/image" Target="../media/image3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13.xml"/><Relationship Id="rId1" Type="http://schemas.openxmlformats.org/officeDocument/2006/relationships/tags" Target="../tags/tag836.xml"/><Relationship Id="rId4" Type="http://schemas.openxmlformats.org/officeDocument/2006/relationships/image" Target="../media/image3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3.xml"/><Relationship Id="rId1" Type="http://schemas.openxmlformats.org/officeDocument/2006/relationships/tags" Target="../tags/tag837.xml"/><Relationship Id="rId5" Type="http://schemas.openxmlformats.org/officeDocument/2006/relationships/image" Target="../media/image34.png"/><Relationship Id="rId4" Type="http://schemas.openxmlformats.org/officeDocument/2006/relationships/image" Target="../media/image33.emf"/></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11.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0.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 Id="rId14" Type="http://schemas.microsoft.com/office/2007/relationships/hdphoto" Target="../media/hdphoto3.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image" Target="../media/image28.jpeg"/><Relationship Id="rId5" Type="http://schemas.openxmlformats.org/officeDocument/2006/relationships/image" Target="../media/image23.emf"/><Relationship Id="rId4" Type="http://schemas.openxmlformats.org/officeDocument/2006/relationships/oleObject" Target="../embeddings/oleObject123.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8.xml"/><Relationship Id="rId1" Type="http://schemas.openxmlformats.org/officeDocument/2006/relationships/tags" Target="../tags/tag857.xml"/><Relationship Id="rId5" Type="http://schemas.openxmlformats.org/officeDocument/2006/relationships/image" Target="../media/image25.emf"/><Relationship Id="rId4" Type="http://schemas.openxmlformats.org/officeDocument/2006/relationships/oleObject" Target="../embeddings/oleObject12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11.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0.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2.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 Id="rId1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11.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0.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 Id="rId1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6.png"/><Relationship Id="rId3" Type="http://schemas.openxmlformats.org/officeDocument/2006/relationships/tags" Target="../tags/tag100.xml"/><Relationship Id="rId7" Type="http://schemas.openxmlformats.org/officeDocument/2006/relationships/slideMaster" Target="../slideMasters/slideMaster2.xml"/><Relationship Id="rId12" Type="http://schemas.openxmlformats.org/officeDocument/2006/relationships/image" Target="../media/image5.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microsoft.com/office/2007/relationships/hdphoto" Target="../media/hdphoto1.wdp"/><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7.emf"/><Relationship Id="rId14" Type="http://schemas.microsoft.com/office/2007/relationships/hdphoto" Target="../media/hdphoto2.wdp"/></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7.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2.xml"/><Relationship Id="rId7" Type="http://schemas.openxmlformats.org/officeDocument/2006/relationships/oleObject" Target="../embeddings/oleObject17.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Master" Target="../slideMasters/slideMaster3.xml"/><Relationship Id="rId5" Type="http://schemas.openxmlformats.org/officeDocument/2006/relationships/tags" Target="../tags/tag134.xml"/><Relationship Id="rId10" Type="http://schemas.openxmlformats.org/officeDocument/2006/relationships/image" Target="../media/image9.jpeg"/><Relationship Id="rId4" Type="http://schemas.openxmlformats.org/officeDocument/2006/relationships/tags" Target="../tags/tag133.xml"/><Relationship Id="rId9" Type="http://schemas.openxmlformats.org/officeDocument/2006/relationships/image" Target="../media/image8.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image" Target="../media/image3.emf"/><Relationship Id="rId4" Type="http://schemas.openxmlformats.org/officeDocument/2006/relationships/tags" Target="../tags/tag138.xml"/><Relationship Id="rId9"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4.xml"/><Relationship Id="rId7"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0.xml"/><Relationship Id="rId7"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6.xml"/><Relationship Id="rId7" Type="http://schemas.openxmlformats.org/officeDocument/2006/relationships/slideMaster" Target="../slideMasters/slideMaster3.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7.emf"/><Relationship Id="rId4" Type="http://schemas.openxmlformats.org/officeDocument/2006/relationships/tags" Target="../tags/tag163.xml"/><Relationship Id="rId9"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image" Target="../media/image11.png"/><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10.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image" Target="../media/image3.emf"/><Relationship Id="rId5" Type="http://schemas.openxmlformats.org/officeDocument/2006/relationships/tags" Target="../tags/tag171.xml"/><Relationship Id="rId10" Type="http://schemas.openxmlformats.org/officeDocument/2006/relationships/oleObject" Target="../embeddings/oleObject23.bin"/><Relationship Id="rId4" Type="http://schemas.openxmlformats.org/officeDocument/2006/relationships/tags" Target="../tags/tag170.xml"/><Relationship Id="rId9" Type="http://schemas.openxmlformats.org/officeDocument/2006/relationships/slideMaster" Target="../slideMasters/slideMaster3.xml"/><Relationship Id="rId14" Type="http://schemas.microsoft.com/office/2007/relationships/hdphoto" Target="../media/hdphoto3.wdp"/></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image" Target="../media/image11.png"/><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10.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3.emf"/><Relationship Id="rId5" Type="http://schemas.openxmlformats.org/officeDocument/2006/relationships/tags" Target="../tags/tag179.xml"/><Relationship Id="rId10" Type="http://schemas.openxmlformats.org/officeDocument/2006/relationships/oleObject" Target="../embeddings/oleObject24.bin"/><Relationship Id="rId4" Type="http://schemas.openxmlformats.org/officeDocument/2006/relationships/tags" Target="../tags/tag178.xml"/><Relationship Id="rId9" Type="http://schemas.openxmlformats.org/officeDocument/2006/relationships/slideMaster" Target="../slideMasters/slideMaster3.xml"/><Relationship Id="rId14" Type="http://schemas.microsoft.com/office/2007/relationships/hdphoto" Target="../media/hdphoto3.wdp"/></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11.png"/><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10.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image" Target="../media/image3.emf"/><Relationship Id="rId5" Type="http://schemas.openxmlformats.org/officeDocument/2006/relationships/tags" Target="../tags/tag187.xml"/><Relationship Id="rId10" Type="http://schemas.openxmlformats.org/officeDocument/2006/relationships/oleObject" Target="../embeddings/oleObject25.bin"/><Relationship Id="rId4" Type="http://schemas.openxmlformats.org/officeDocument/2006/relationships/tags" Target="../tags/tag186.xml"/><Relationship Id="rId9" Type="http://schemas.openxmlformats.org/officeDocument/2006/relationships/slideMaster" Target="../slideMasters/slideMaster3.xml"/><Relationship Id="rId14" Type="http://schemas.microsoft.com/office/2007/relationships/hdphoto" Target="../media/hdphoto3.wdp"/></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11.png"/><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image" Target="../media/image12.emf"/><Relationship Id="rId5" Type="http://schemas.openxmlformats.org/officeDocument/2006/relationships/tags" Target="../tags/tag195.xml"/><Relationship Id="rId10" Type="http://schemas.openxmlformats.org/officeDocument/2006/relationships/oleObject" Target="../embeddings/oleObject26.bin"/><Relationship Id="rId4" Type="http://schemas.openxmlformats.org/officeDocument/2006/relationships/tags" Target="../tags/tag194.xml"/><Relationship Id="rId9" Type="http://schemas.openxmlformats.org/officeDocument/2006/relationships/slideMaster" Target="../slideMasters/slideMaster3.xm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image" Target="../media/image11.png"/><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10.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3.emf"/><Relationship Id="rId5" Type="http://schemas.openxmlformats.org/officeDocument/2006/relationships/tags" Target="../tags/tag203.xml"/><Relationship Id="rId10" Type="http://schemas.openxmlformats.org/officeDocument/2006/relationships/oleObject" Target="../embeddings/oleObject27.bin"/><Relationship Id="rId4" Type="http://schemas.openxmlformats.org/officeDocument/2006/relationships/tags" Target="../tags/tag202.xml"/><Relationship Id="rId9" Type="http://schemas.openxmlformats.org/officeDocument/2006/relationships/slideMaster" Target="../slideMasters/slideMaster3.xml"/><Relationship Id="rId14" Type="http://schemas.microsoft.com/office/2007/relationships/hdphoto" Target="../media/hdphoto3.wdp"/></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28.bin"/><Relationship Id="rId13" Type="http://schemas.openxmlformats.org/officeDocument/2006/relationships/image" Target="../media/image6.png"/><Relationship Id="rId3" Type="http://schemas.openxmlformats.org/officeDocument/2006/relationships/tags" Target="../tags/tag209.xml"/><Relationship Id="rId7" Type="http://schemas.openxmlformats.org/officeDocument/2006/relationships/slideMaster" Target="../slideMasters/slideMaster3.xml"/><Relationship Id="rId12" Type="http://schemas.openxmlformats.org/officeDocument/2006/relationships/image" Target="../media/image5.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microsoft.com/office/2007/relationships/hdphoto" Target="../media/hdphoto1.wdp"/><Relationship Id="rId5" Type="http://schemas.openxmlformats.org/officeDocument/2006/relationships/tags" Target="../tags/tag211.xml"/><Relationship Id="rId10" Type="http://schemas.openxmlformats.org/officeDocument/2006/relationships/image" Target="../media/image4.png"/><Relationship Id="rId4" Type="http://schemas.openxmlformats.org/officeDocument/2006/relationships/tags" Target="../tags/tag210.xml"/><Relationship Id="rId9" Type="http://schemas.openxmlformats.org/officeDocument/2006/relationships/image" Target="../media/image7.emf"/><Relationship Id="rId14" Type="http://schemas.microsoft.com/office/2007/relationships/hdphoto" Target="../media/hdphoto2.wdp"/></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7.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21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41.xml"/><Relationship Id="rId7" Type="http://schemas.openxmlformats.org/officeDocument/2006/relationships/oleObject" Target="../embeddings/oleObject32.bin"/><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slideMaster" Target="../slideMasters/slideMaster4.xml"/><Relationship Id="rId5" Type="http://schemas.openxmlformats.org/officeDocument/2006/relationships/tags" Target="../tags/tag243.xml"/><Relationship Id="rId10" Type="http://schemas.openxmlformats.org/officeDocument/2006/relationships/image" Target="../media/image17.jpeg"/><Relationship Id="rId4" Type="http://schemas.openxmlformats.org/officeDocument/2006/relationships/tags" Target="../tags/tag242.xml"/><Relationship Id="rId9" Type="http://schemas.openxmlformats.org/officeDocument/2006/relationships/image" Target="../media/image16.jpeg"/></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image" Target="../media/image3.emf"/><Relationship Id="rId4" Type="http://schemas.openxmlformats.org/officeDocument/2006/relationships/tags" Target="../tags/tag247.xml"/><Relationship Id="rId9"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53.xml"/><Relationship Id="rId7" Type="http://schemas.openxmlformats.org/officeDocument/2006/relationships/slideMaster" Target="../slideMasters/slideMaster4.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5" Type="http://schemas.openxmlformats.org/officeDocument/2006/relationships/tags" Target="../tags/tag255.xml"/><Relationship Id="rId4" Type="http://schemas.openxmlformats.org/officeDocument/2006/relationships/tags" Target="../tags/tag254.xml"/><Relationship Id="rId9"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59.xml"/><Relationship Id="rId7" Type="http://schemas.openxmlformats.org/officeDocument/2006/relationships/slideMaster" Target="../slideMasters/slideMaster4.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65.xml"/><Relationship Id="rId7" Type="http://schemas.openxmlformats.org/officeDocument/2006/relationships/slideMaster" Target="../slideMasters/slideMaster4.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5" Type="http://schemas.openxmlformats.org/officeDocument/2006/relationships/tags" Target="../tags/tag267.xml"/><Relationship Id="rId4" Type="http://schemas.openxmlformats.org/officeDocument/2006/relationships/tags" Target="../tags/tag266.xml"/><Relationship Id="rId9"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7.emf"/><Relationship Id="rId4" Type="http://schemas.openxmlformats.org/officeDocument/2006/relationships/tags" Target="../tags/tag272.xml"/><Relationship Id="rId9"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image" Target="../media/image18.png"/><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image" Target="../media/image10.pn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image" Target="../media/image3.emf"/><Relationship Id="rId5" Type="http://schemas.openxmlformats.org/officeDocument/2006/relationships/tags" Target="../tags/tag280.xml"/><Relationship Id="rId10" Type="http://schemas.openxmlformats.org/officeDocument/2006/relationships/oleObject" Target="../embeddings/oleObject38.bin"/><Relationship Id="rId4" Type="http://schemas.openxmlformats.org/officeDocument/2006/relationships/tags" Target="../tags/tag279.xml"/><Relationship Id="rId9" Type="http://schemas.openxmlformats.org/officeDocument/2006/relationships/slideMaster" Target="../slideMasters/slideMaster4.xml"/><Relationship Id="rId14" Type="http://schemas.microsoft.com/office/2007/relationships/hdphoto" Target="../media/hdphoto6.wdp"/></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image" Target="../media/image18.png"/><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10.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image" Target="../media/image3.emf"/><Relationship Id="rId5" Type="http://schemas.openxmlformats.org/officeDocument/2006/relationships/tags" Target="../tags/tag288.xml"/><Relationship Id="rId10" Type="http://schemas.openxmlformats.org/officeDocument/2006/relationships/oleObject" Target="../embeddings/oleObject39.bin"/><Relationship Id="rId4" Type="http://schemas.openxmlformats.org/officeDocument/2006/relationships/tags" Target="../tags/tag287.xml"/><Relationship Id="rId9" Type="http://schemas.openxmlformats.org/officeDocument/2006/relationships/slideMaster" Target="../slideMasters/slideMaster4.xml"/><Relationship Id="rId14" Type="http://schemas.microsoft.com/office/2007/relationships/hdphoto" Target="../media/hdphoto6.wdp"/></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image" Target="../media/image18.png"/><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10.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image" Target="../media/image3.emf"/><Relationship Id="rId5" Type="http://schemas.openxmlformats.org/officeDocument/2006/relationships/tags" Target="../tags/tag296.xml"/><Relationship Id="rId10" Type="http://schemas.openxmlformats.org/officeDocument/2006/relationships/oleObject" Target="../embeddings/oleObject40.bin"/><Relationship Id="rId4" Type="http://schemas.openxmlformats.org/officeDocument/2006/relationships/tags" Target="../tags/tag295.xml"/><Relationship Id="rId9" Type="http://schemas.openxmlformats.org/officeDocument/2006/relationships/slideMaster" Target="../slideMasters/slideMaster4.xml"/><Relationship Id="rId14" Type="http://schemas.microsoft.com/office/2007/relationships/hdphoto" Target="../media/hdphoto6.wdp"/></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image" Target="../media/image18.png"/><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image" Target="../media/image10.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12.emf"/><Relationship Id="rId5" Type="http://schemas.openxmlformats.org/officeDocument/2006/relationships/tags" Target="../tags/tag304.xml"/><Relationship Id="rId10" Type="http://schemas.openxmlformats.org/officeDocument/2006/relationships/oleObject" Target="../embeddings/oleObject41.bin"/><Relationship Id="rId4" Type="http://schemas.openxmlformats.org/officeDocument/2006/relationships/tags" Target="../tags/tag303.xml"/><Relationship Id="rId9" Type="http://schemas.openxmlformats.org/officeDocument/2006/relationships/slideMaster" Target="../slideMasters/slideMaster4.xml"/><Relationship Id="rId14" Type="http://schemas.microsoft.com/office/2007/relationships/hdphoto" Target="../media/hdphoto6.wdp"/></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image" Target="../media/image18.png"/><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image" Target="../media/image10.pn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image" Target="../media/image3.emf"/><Relationship Id="rId5" Type="http://schemas.openxmlformats.org/officeDocument/2006/relationships/tags" Target="../tags/tag312.xml"/><Relationship Id="rId10" Type="http://schemas.openxmlformats.org/officeDocument/2006/relationships/oleObject" Target="../embeddings/oleObject42.bin"/><Relationship Id="rId4" Type="http://schemas.openxmlformats.org/officeDocument/2006/relationships/tags" Target="../tags/tag311.xml"/><Relationship Id="rId9" Type="http://schemas.openxmlformats.org/officeDocument/2006/relationships/slideMaster" Target="../slideMasters/slideMaster4.xml"/><Relationship Id="rId14" Type="http://schemas.microsoft.com/office/2007/relationships/hdphoto" Target="../media/hdphoto6.wdp"/></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43.bin"/><Relationship Id="rId13" Type="http://schemas.openxmlformats.org/officeDocument/2006/relationships/image" Target="../media/image15.png"/><Relationship Id="rId3" Type="http://schemas.openxmlformats.org/officeDocument/2006/relationships/tags" Target="../tags/tag318.xml"/><Relationship Id="rId7" Type="http://schemas.openxmlformats.org/officeDocument/2006/relationships/slideMaster" Target="../slideMasters/slideMaster4.xml"/><Relationship Id="rId12" Type="http://schemas.openxmlformats.org/officeDocument/2006/relationships/image" Target="../media/image14.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microsoft.com/office/2007/relationships/hdphoto" Target="../media/hdphoto4.wdp"/><Relationship Id="rId5" Type="http://schemas.openxmlformats.org/officeDocument/2006/relationships/tags" Target="../tags/tag320.xml"/><Relationship Id="rId10" Type="http://schemas.openxmlformats.org/officeDocument/2006/relationships/image" Target="../media/image13.png"/><Relationship Id="rId4" Type="http://schemas.openxmlformats.org/officeDocument/2006/relationships/tags" Target="../tags/tag319.xml"/><Relationship Id="rId9" Type="http://schemas.openxmlformats.org/officeDocument/2006/relationships/image" Target="../media/image7.emf"/><Relationship Id="rId14" Type="http://schemas.microsoft.com/office/2007/relationships/hdphoto" Target="../media/hdphoto5.wdp"/></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7.emf"/><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oleObject" Target="../embeddings/oleObject44.bin"/><Relationship Id="rId5" Type="http://schemas.openxmlformats.org/officeDocument/2006/relationships/slideMaster" Target="../slideMasters/slideMaster4.xml"/><Relationship Id="rId4" Type="http://schemas.openxmlformats.org/officeDocument/2006/relationships/tags" Target="../tags/tag32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0.xml"/><Relationship Id="rId7" Type="http://schemas.openxmlformats.org/officeDocument/2006/relationships/tags" Target="../tags/tag334.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10" Type="http://schemas.openxmlformats.org/officeDocument/2006/relationships/image" Target="../media/image3.emf"/><Relationship Id="rId4" Type="http://schemas.openxmlformats.org/officeDocument/2006/relationships/tags" Target="../tags/tag331.xml"/><Relationship Id="rId9" Type="http://schemas.openxmlformats.org/officeDocument/2006/relationships/oleObject" Target="../embeddings/oleObject46.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slideMaster" Target="../slideMasters/slideMaster4.xml"/><Relationship Id="rId4" Type="http://schemas.openxmlformats.org/officeDocument/2006/relationships/tags" Target="../tags/tag33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slideMaster" Target="../slideMasters/slideMaster4.xml"/><Relationship Id="rId4" Type="http://schemas.openxmlformats.org/officeDocument/2006/relationships/tags" Target="../tags/tag342.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45.xml"/><Relationship Id="rId7" Type="http://schemas.openxmlformats.org/officeDocument/2006/relationships/tags" Target="../tags/tag349.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tags" Target="../tags/tag348.xml"/><Relationship Id="rId5" Type="http://schemas.openxmlformats.org/officeDocument/2006/relationships/tags" Target="../tags/tag347.xml"/><Relationship Id="rId10" Type="http://schemas.openxmlformats.org/officeDocument/2006/relationships/image" Target="../media/image3.emf"/><Relationship Id="rId4" Type="http://schemas.openxmlformats.org/officeDocument/2006/relationships/tags" Target="../tags/tag346.xml"/><Relationship Id="rId9" Type="http://schemas.openxmlformats.org/officeDocument/2006/relationships/oleObject" Target="../embeddings/oleObject47.bin"/></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2.xml"/><Relationship Id="rId7" Type="http://schemas.openxmlformats.org/officeDocument/2006/relationships/tags" Target="../tags/tag356.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tags" Target="../tags/tag355.xml"/><Relationship Id="rId5" Type="http://schemas.openxmlformats.org/officeDocument/2006/relationships/tags" Target="../tags/tag354.xml"/><Relationship Id="rId10" Type="http://schemas.openxmlformats.org/officeDocument/2006/relationships/image" Target="../media/image3.emf"/><Relationship Id="rId4" Type="http://schemas.openxmlformats.org/officeDocument/2006/relationships/tags" Target="../tags/tag353.xml"/><Relationship Id="rId9" Type="http://schemas.openxmlformats.org/officeDocument/2006/relationships/oleObject" Target="../embeddings/oleObject48.bin"/></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9.xml"/><Relationship Id="rId7" Type="http://schemas.openxmlformats.org/officeDocument/2006/relationships/tags" Target="../tags/tag363.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tags" Target="../tags/tag362.xml"/><Relationship Id="rId5" Type="http://schemas.openxmlformats.org/officeDocument/2006/relationships/tags" Target="../tags/tag361.xml"/><Relationship Id="rId10" Type="http://schemas.openxmlformats.org/officeDocument/2006/relationships/image" Target="../media/image3.emf"/><Relationship Id="rId4" Type="http://schemas.openxmlformats.org/officeDocument/2006/relationships/tags" Target="../tags/tag360.xml"/><Relationship Id="rId9" Type="http://schemas.openxmlformats.org/officeDocument/2006/relationships/oleObject" Target="../embeddings/oleObject49.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387.xml"/><Relationship Id="rId7" Type="http://schemas.openxmlformats.org/officeDocument/2006/relationships/image" Target="../media/image7.emf"/><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oleObject" Target="../embeddings/oleObject51.bin"/><Relationship Id="rId5" Type="http://schemas.openxmlformats.org/officeDocument/2006/relationships/slideMaster" Target="../slideMasters/slideMaster5.xml"/><Relationship Id="rId4" Type="http://schemas.openxmlformats.org/officeDocument/2006/relationships/tags" Target="../tags/tag388.xml"/><Relationship Id="rId9" Type="http://schemas.openxmlformats.org/officeDocument/2006/relationships/image" Target="../media/image17.jpeg"/></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5" Type="http://schemas.openxmlformats.org/officeDocument/2006/relationships/tags" Target="../tags/tag393.xml"/><Relationship Id="rId10" Type="http://schemas.openxmlformats.org/officeDocument/2006/relationships/image" Target="../media/image3.emf"/><Relationship Id="rId4" Type="http://schemas.openxmlformats.org/officeDocument/2006/relationships/tags" Target="../tags/tag392.xml"/><Relationship Id="rId9" Type="http://schemas.openxmlformats.org/officeDocument/2006/relationships/oleObject" Target="../embeddings/oleObject52.bin"/></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98.xml"/><Relationship Id="rId7" Type="http://schemas.openxmlformats.org/officeDocument/2006/relationships/slideMaster" Target="../slideMasters/slideMaster5.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 Id="rId9" Type="http://schemas.openxmlformats.org/officeDocument/2006/relationships/image" Target="../media/image7.emf"/></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04.xml"/><Relationship Id="rId7" Type="http://schemas.openxmlformats.org/officeDocument/2006/relationships/slideMaster" Target="../slideMasters/slideMaster5.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5" Type="http://schemas.openxmlformats.org/officeDocument/2006/relationships/tags" Target="../tags/tag406.xml"/><Relationship Id="rId4" Type="http://schemas.openxmlformats.org/officeDocument/2006/relationships/tags" Target="../tags/tag405.xml"/><Relationship Id="rId9"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10.xml"/><Relationship Id="rId7" Type="http://schemas.openxmlformats.org/officeDocument/2006/relationships/slideMaster" Target="../slideMasters/slideMaster5.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tags" Target="../tags/tag413.xml"/><Relationship Id="rId5" Type="http://schemas.openxmlformats.org/officeDocument/2006/relationships/tags" Target="../tags/tag412.xml"/><Relationship Id="rId4" Type="http://schemas.openxmlformats.org/officeDocument/2006/relationships/tags" Target="../tags/tag411.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2.xml"/><Relationship Id="rId5" Type="http://schemas.openxmlformats.org/officeDocument/2006/relationships/tags" Target="../tags/tag25.xml"/><Relationship Id="rId10" Type="http://schemas.openxmlformats.org/officeDocument/2006/relationships/image" Target="../media/image9.jpeg"/><Relationship Id="rId4" Type="http://schemas.openxmlformats.org/officeDocument/2006/relationships/tags" Target="../tags/tag24.xml"/><Relationship Id="rId9" Type="http://schemas.openxmlformats.org/officeDocument/2006/relationships/image" Target="../media/image8.jpeg"/></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16.xml"/><Relationship Id="rId7" Type="http://schemas.openxmlformats.org/officeDocument/2006/relationships/tags" Target="../tags/tag420.xml"/><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5" Type="http://schemas.openxmlformats.org/officeDocument/2006/relationships/tags" Target="../tags/tag418.xml"/><Relationship Id="rId10" Type="http://schemas.openxmlformats.org/officeDocument/2006/relationships/image" Target="../media/image7.emf"/><Relationship Id="rId4" Type="http://schemas.openxmlformats.org/officeDocument/2006/relationships/tags" Target="../tags/tag417.xml"/><Relationship Id="rId9" Type="http://schemas.openxmlformats.org/officeDocument/2006/relationships/oleObject" Target="../embeddings/oleObject56.bin"/></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428.xml"/><Relationship Id="rId13" Type="http://schemas.microsoft.com/office/2007/relationships/hdphoto" Target="../media/hdphoto7.wdp"/><Relationship Id="rId3" Type="http://schemas.openxmlformats.org/officeDocument/2006/relationships/tags" Target="../tags/tag423.xml"/><Relationship Id="rId7" Type="http://schemas.openxmlformats.org/officeDocument/2006/relationships/tags" Target="../tags/tag427.xml"/><Relationship Id="rId12" Type="http://schemas.openxmlformats.org/officeDocument/2006/relationships/image" Target="../media/image13.png"/><Relationship Id="rId2" Type="http://schemas.openxmlformats.org/officeDocument/2006/relationships/tags" Target="../tags/tag422.xml"/><Relationship Id="rId16" Type="http://schemas.microsoft.com/office/2007/relationships/hdphoto" Target="../media/hdphoto8.wdp"/><Relationship Id="rId1" Type="http://schemas.openxmlformats.org/officeDocument/2006/relationships/tags" Target="../tags/tag421.xml"/><Relationship Id="rId6" Type="http://schemas.openxmlformats.org/officeDocument/2006/relationships/tags" Target="../tags/tag426.xml"/><Relationship Id="rId11" Type="http://schemas.openxmlformats.org/officeDocument/2006/relationships/image" Target="../media/image3.emf"/><Relationship Id="rId5" Type="http://schemas.openxmlformats.org/officeDocument/2006/relationships/tags" Target="../tags/tag425.xml"/><Relationship Id="rId15" Type="http://schemas.openxmlformats.org/officeDocument/2006/relationships/image" Target="../media/image15.png"/><Relationship Id="rId10" Type="http://schemas.openxmlformats.org/officeDocument/2006/relationships/oleObject" Target="../embeddings/oleObject57.bin"/><Relationship Id="rId4" Type="http://schemas.openxmlformats.org/officeDocument/2006/relationships/tags" Target="../tags/tag424.xml"/><Relationship Id="rId9" Type="http://schemas.openxmlformats.org/officeDocument/2006/relationships/slideMaster" Target="../slideMasters/slideMaster5.xml"/><Relationship Id="rId1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436.xml"/><Relationship Id="rId13" Type="http://schemas.microsoft.com/office/2007/relationships/hdphoto" Target="../media/hdphoto7.wdp"/><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image" Target="../media/image13.png"/><Relationship Id="rId2" Type="http://schemas.openxmlformats.org/officeDocument/2006/relationships/tags" Target="../tags/tag430.xml"/><Relationship Id="rId16" Type="http://schemas.microsoft.com/office/2007/relationships/hdphoto" Target="../media/hdphoto8.wdp"/><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image" Target="../media/image3.emf"/><Relationship Id="rId5" Type="http://schemas.openxmlformats.org/officeDocument/2006/relationships/tags" Target="../tags/tag433.xml"/><Relationship Id="rId15" Type="http://schemas.openxmlformats.org/officeDocument/2006/relationships/image" Target="../media/image15.png"/><Relationship Id="rId10" Type="http://schemas.openxmlformats.org/officeDocument/2006/relationships/oleObject" Target="../embeddings/oleObject58.bin"/><Relationship Id="rId4" Type="http://schemas.openxmlformats.org/officeDocument/2006/relationships/tags" Target="../tags/tag432.xml"/><Relationship Id="rId9" Type="http://schemas.openxmlformats.org/officeDocument/2006/relationships/slideMaster" Target="../slideMasters/slideMaster5.xml"/><Relationship Id="rId1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444.xml"/><Relationship Id="rId13" Type="http://schemas.microsoft.com/office/2007/relationships/hdphoto" Target="../media/hdphoto7.wdp"/><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image" Target="../media/image13.png"/><Relationship Id="rId2" Type="http://schemas.openxmlformats.org/officeDocument/2006/relationships/tags" Target="../tags/tag438.xml"/><Relationship Id="rId16" Type="http://schemas.microsoft.com/office/2007/relationships/hdphoto" Target="../media/hdphoto8.wdp"/><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image" Target="../media/image7.emf"/><Relationship Id="rId5" Type="http://schemas.openxmlformats.org/officeDocument/2006/relationships/tags" Target="../tags/tag441.xml"/><Relationship Id="rId15" Type="http://schemas.openxmlformats.org/officeDocument/2006/relationships/image" Target="../media/image15.png"/><Relationship Id="rId10" Type="http://schemas.openxmlformats.org/officeDocument/2006/relationships/oleObject" Target="../embeddings/oleObject59.bin"/><Relationship Id="rId4" Type="http://schemas.openxmlformats.org/officeDocument/2006/relationships/tags" Target="../tags/tag440.xml"/><Relationship Id="rId9" Type="http://schemas.openxmlformats.org/officeDocument/2006/relationships/slideMaster" Target="../slideMasters/slideMaster5.xml"/><Relationship Id="rId1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452.xml"/><Relationship Id="rId13" Type="http://schemas.microsoft.com/office/2007/relationships/hdphoto" Target="../media/hdphoto7.wdp"/><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13.png"/><Relationship Id="rId2" Type="http://schemas.openxmlformats.org/officeDocument/2006/relationships/tags" Target="../tags/tag446.xml"/><Relationship Id="rId16" Type="http://schemas.microsoft.com/office/2007/relationships/hdphoto" Target="../media/hdphoto8.wdp"/><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image" Target="../media/image3.emf"/><Relationship Id="rId5" Type="http://schemas.openxmlformats.org/officeDocument/2006/relationships/tags" Target="../tags/tag449.xml"/><Relationship Id="rId15" Type="http://schemas.openxmlformats.org/officeDocument/2006/relationships/image" Target="../media/image15.png"/><Relationship Id="rId10" Type="http://schemas.openxmlformats.org/officeDocument/2006/relationships/oleObject" Target="../embeddings/oleObject60.bin"/><Relationship Id="rId4" Type="http://schemas.openxmlformats.org/officeDocument/2006/relationships/tags" Target="../tags/tag448.xml"/><Relationship Id="rId9" Type="http://schemas.openxmlformats.org/officeDocument/2006/relationships/slideMaster" Target="../slideMasters/slideMaster5.xml"/><Relationship Id="rId14" Type="http://schemas.openxmlformats.org/officeDocument/2006/relationships/image" Target="../media/image14.png"/></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460.xml"/><Relationship Id="rId13" Type="http://schemas.microsoft.com/office/2007/relationships/hdphoto" Target="../media/hdphoto7.wdp"/><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13.png"/><Relationship Id="rId2" Type="http://schemas.openxmlformats.org/officeDocument/2006/relationships/tags" Target="../tags/tag454.xml"/><Relationship Id="rId16" Type="http://schemas.microsoft.com/office/2007/relationships/hdphoto" Target="../media/hdphoto8.wdp"/><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5" Type="http://schemas.openxmlformats.org/officeDocument/2006/relationships/image" Target="../media/image15.png"/><Relationship Id="rId10" Type="http://schemas.openxmlformats.org/officeDocument/2006/relationships/oleObject" Target="../embeddings/oleObject61.bin"/><Relationship Id="rId4" Type="http://schemas.openxmlformats.org/officeDocument/2006/relationships/tags" Target="../tags/tag456.xml"/><Relationship Id="rId9" Type="http://schemas.openxmlformats.org/officeDocument/2006/relationships/slideMaster" Target="../slideMasters/slideMaster5.xml"/><Relationship Id="rId1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image" Target="../media/image10.png"/><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7.emf"/><Relationship Id="rId5" Type="http://schemas.openxmlformats.org/officeDocument/2006/relationships/tags" Target="../tags/tag465.xml"/><Relationship Id="rId10" Type="http://schemas.openxmlformats.org/officeDocument/2006/relationships/oleObject" Target="../embeddings/oleObject62.bin"/><Relationship Id="rId4" Type="http://schemas.openxmlformats.org/officeDocument/2006/relationships/tags" Target="../tags/tag464.xml"/><Relationship Id="rId9"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12" Type="http://schemas.openxmlformats.org/officeDocument/2006/relationships/image" Target="../media/image10.png"/><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3.emf"/><Relationship Id="rId5" Type="http://schemas.openxmlformats.org/officeDocument/2006/relationships/tags" Target="../tags/tag473.xml"/><Relationship Id="rId10" Type="http://schemas.openxmlformats.org/officeDocument/2006/relationships/oleObject" Target="../embeddings/oleObject63.bin"/><Relationship Id="rId4" Type="http://schemas.openxmlformats.org/officeDocument/2006/relationships/tags" Target="../tags/tag472.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image" Target="../media/image10.png"/><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7.emf"/><Relationship Id="rId5" Type="http://schemas.openxmlformats.org/officeDocument/2006/relationships/tags" Target="../tags/tag481.xml"/><Relationship Id="rId10" Type="http://schemas.openxmlformats.org/officeDocument/2006/relationships/oleObject" Target="../embeddings/oleObject64.bin"/><Relationship Id="rId4" Type="http://schemas.openxmlformats.org/officeDocument/2006/relationships/tags" Target="../tags/tag480.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15.png"/><Relationship Id="rId3" Type="http://schemas.openxmlformats.org/officeDocument/2006/relationships/tags" Target="../tags/tag487.xml"/><Relationship Id="rId7" Type="http://schemas.openxmlformats.org/officeDocument/2006/relationships/slideMaster" Target="../slideMasters/slideMaster5.xml"/><Relationship Id="rId12" Type="http://schemas.openxmlformats.org/officeDocument/2006/relationships/image" Target="../media/image14.png"/><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11" Type="http://schemas.microsoft.com/office/2007/relationships/hdphoto" Target="../media/hdphoto7.wdp"/><Relationship Id="rId5" Type="http://schemas.openxmlformats.org/officeDocument/2006/relationships/tags" Target="../tags/tag489.xml"/><Relationship Id="rId10" Type="http://schemas.openxmlformats.org/officeDocument/2006/relationships/image" Target="../media/image13.png"/><Relationship Id="rId4" Type="http://schemas.openxmlformats.org/officeDocument/2006/relationships/tags" Target="../tags/tag488.xml"/><Relationship Id="rId9" Type="http://schemas.openxmlformats.org/officeDocument/2006/relationships/image" Target="../media/image7.emf"/><Relationship Id="rId14" Type="http://schemas.microsoft.com/office/2007/relationships/hdphoto" Target="../media/hdphoto8.wdp"/></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3.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image" Target="../media/image7.emf"/><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oleObject" Target="../embeddings/oleObject66.bin"/><Relationship Id="rId5" Type="http://schemas.openxmlformats.org/officeDocument/2006/relationships/slideMaster" Target="../slideMasters/slideMaster5.xml"/><Relationship Id="rId4" Type="http://schemas.openxmlformats.org/officeDocument/2006/relationships/tags" Target="../tags/tag494.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5.xml"/><Relationship Id="rId7" Type="http://schemas.microsoft.com/office/2007/relationships/hdphoto" Target="../media/hdphoto9.wdp"/><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13.png"/><Relationship Id="rId5" Type="http://schemas.openxmlformats.org/officeDocument/2006/relationships/image" Target="../media/image7.emf"/><Relationship Id="rId10" Type="http://schemas.microsoft.com/office/2007/relationships/hdphoto" Target="../media/hdphoto10.wdp"/><Relationship Id="rId4" Type="http://schemas.openxmlformats.org/officeDocument/2006/relationships/oleObject" Target="../embeddings/oleObject67.bin"/><Relationship Id="rId9"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99.xml"/><Relationship Id="rId7" Type="http://schemas.openxmlformats.org/officeDocument/2006/relationships/tags" Target="../tags/tag503.xm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tags" Target="../tags/tag502.xml"/><Relationship Id="rId5" Type="http://schemas.openxmlformats.org/officeDocument/2006/relationships/tags" Target="../tags/tag501.xml"/><Relationship Id="rId10" Type="http://schemas.openxmlformats.org/officeDocument/2006/relationships/image" Target="../media/image3.emf"/><Relationship Id="rId4" Type="http://schemas.openxmlformats.org/officeDocument/2006/relationships/tags" Target="../tags/tag500.xml"/><Relationship Id="rId9" Type="http://schemas.openxmlformats.org/officeDocument/2006/relationships/oleObject" Target="../embeddings/oleObject68.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26.xml"/><Relationship Id="rId7" Type="http://schemas.openxmlformats.org/officeDocument/2006/relationships/oleObject" Target="../embeddings/oleObject70.bin"/><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slideMaster" Target="../slideMasters/slideMaster6.xml"/><Relationship Id="rId5" Type="http://schemas.openxmlformats.org/officeDocument/2006/relationships/tags" Target="../tags/tag528.xml"/><Relationship Id="rId10" Type="http://schemas.openxmlformats.org/officeDocument/2006/relationships/image" Target="../media/image9.jpeg"/><Relationship Id="rId4" Type="http://schemas.openxmlformats.org/officeDocument/2006/relationships/tags" Target="../tags/tag527.xml"/><Relationship Id="rId9" Type="http://schemas.openxmlformats.org/officeDocument/2006/relationships/image" Target="../media/image8.jpeg"/></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31.xml"/><Relationship Id="rId7" Type="http://schemas.openxmlformats.org/officeDocument/2006/relationships/tags" Target="../tags/tag535.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tags" Target="../tags/tag534.xml"/><Relationship Id="rId5" Type="http://schemas.openxmlformats.org/officeDocument/2006/relationships/tags" Target="../tags/tag533.xml"/><Relationship Id="rId10" Type="http://schemas.openxmlformats.org/officeDocument/2006/relationships/image" Target="../media/image3.emf"/><Relationship Id="rId4" Type="http://schemas.openxmlformats.org/officeDocument/2006/relationships/tags" Target="../tags/tag532.xml"/><Relationship Id="rId9" Type="http://schemas.openxmlformats.org/officeDocument/2006/relationships/oleObject" Target="../embeddings/oleObject71.bin"/></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38.xml"/><Relationship Id="rId7" Type="http://schemas.openxmlformats.org/officeDocument/2006/relationships/slideMaster" Target="../slideMasters/slideMaster6.xml"/><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5" Type="http://schemas.openxmlformats.org/officeDocument/2006/relationships/tags" Target="../tags/tag540.xml"/><Relationship Id="rId4" Type="http://schemas.openxmlformats.org/officeDocument/2006/relationships/tags" Target="../tags/tag539.xml"/><Relationship Id="rId9"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544.xml"/><Relationship Id="rId7" Type="http://schemas.openxmlformats.org/officeDocument/2006/relationships/slideMaster" Target="../slideMasters/slideMaster6.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 Id="rId9"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550.xml"/><Relationship Id="rId7" Type="http://schemas.openxmlformats.org/officeDocument/2006/relationships/slideMaster" Target="../slideMasters/slideMaster6.xml"/><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 Id="rId9"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56.xml"/><Relationship Id="rId7" Type="http://schemas.openxmlformats.org/officeDocument/2006/relationships/tags" Target="../tags/tag560.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tags" Target="../tags/tag559.xml"/><Relationship Id="rId5" Type="http://schemas.openxmlformats.org/officeDocument/2006/relationships/tags" Target="../tags/tag558.xml"/><Relationship Id="rId10" Type="http://schemas.openxmlformats.org/officeDocument/2006/relationships/image" Target="../media/image7.emf"/><Relationship Id="rId4" Type="http://schemas.openxmlformats.org/officeDocument/2006/relationships/tags" Target="../tags/tag557.xml"/><Relationship Id="rId9" Type="http://schemas.openxmlformats.org/officeDocument/2006/relationships/oleObject" Target="../embeddings/oleObject75.bin"/></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7.emf"/></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image" Target="../media/image11.png"/><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10.png"/><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tags" Target="../tags/tag566.xml"/><Relationship Id="rId11" Type="http://schemas.openxmlformats.org/officeDocument/2006/relationships/image" Target="../media/image3.emf"/><Relationship Id="rId5" Type="http://schemas.openxmlformats.org/officeDocument/2006/relationships/tags" Target="../tags/tag565.xml"/><Relationship Id="rId10" Type="http://schemas.openxmlformats.org/officeDocument/2006/relationships/oleObject" Target="../embeddings/oleObject76.bin"/><Relationship Id="rId4" Type="http://schemas.openxmlformats.org/officeDocument/2006/relationships/tags" Target="../tags/tag564.xml"/><Relationship Id="rId9" Type="http://schemas.openxmlformats.org/officeDocument/2006/relationships/slideMaster" Target="../slideMasters/slideMaster6.xml"/><Relationship Id="rId14" Type="http://schemas.microsoft.com/office/2007/relationships/hdphoto" Target="../media/hdphoto3.wdp"/></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image" Target="../media/image11.png"/><Relationship Id="rId3" Type="http://schemas.openxmlformats.org/officeDocument/2006/relationships/tags" Target="../tags/tag571.xml"/><Relationship Id="rId7" Type="http://schemas.openxmlformats.org/officeDocument/2006/relationships/tags" Target="../tags/tag575.xml"/><Relationship Id="rId12" Type="http://schemas.openxmlformats.org/officeDocument/2006/relationships/image" Target="../media/image10.png"/><Relationship Id="rId2" Type="http://schemas.openxmlformats.org/officeDocument/2006/relationships/tags" Target="../tags/tag570.xml"/><Relationship Id="rId1" Type="http://schemas.openxmlformats.org/officeDocument/2006/relationships/tags" Target="../tags/tag569.xml"/><Relationship Id="rId6" Type="http://schemas.openxmlformats.org/officeDocument/2006/relationships/tags" Target="../tags/tag574.xml"/><Relationship Id="rId11" Type="http://schemas.openxmlformats.org/officeDocument/2006/relationships/image" Target="../media/image3.emf"/><Relationship Id="rId5" Type="http://schemas.openxmlformats.org/officeDocument/2006/relationships/tags" Target="../tags/tag573.xml"/><Relationship Id="rId10" Type="http://schemas.openxmlformats.org/officeDocument/2006/relationships/oleObject" Target="../embeddings/oleObject77.bin"/><Relationship Id="rId4" Type="http://schemas.openxmlformats.org/officeDocument/2006/relationships/tags" Target="../tags/tag572.xml"/><Relationship Id="rId9" Type="http://schemas.openxmlformats.org/officeDocument/2006/relationships/slideMaster" Target="../slideMasters/slideMaster6.xml"/><Relationship Id="rId14" Type="http://schemas.microsoft.com/office/2007/relationships/hdphoto" Target="../media/hdphoto3.wdp"/></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584.xml"/><Relationship Id="rId13" Type="http://schemas.openxmlformats.org/officeDocument/2006/relationships/image" Target="../media/image11.png"/><Relationship Id="rId3" Type="http://schemas.openxmlformats.org/officeDocument/2006/relationships/tags" Target="../tags/tag579.xml"/><Relationship Id="rId7" Type="http://schemas.openxmlformats.org/officeDocument/2006/relationships/tags" Target="../tags/tag583.xml"/><Relationship Id="rId12" Type="http://schemas.openxmlformats.org/officeDocument/2006/relationships/image" Target="../media/image10.png"/><Relationship Id="rId2" Type="http://schemas.openxmlformats.org/officeDocument/2006/relationships/tags" Target="../tags/tag578.xml"/><Relationship Id="rId1" Type="http://schemas.openxmlformats.org/officeDocument/2006/relationships/tags" Target="../tags/tag577.xml"/><Relationship Id="rId6" Type="http://schemas.openxmlformats.org/officeDocument/2006/relationships/tags" Target="../tags/tag582.xml"/><Relationship Id="rId11" Type="http://schemas.openxmlformats.org/officeDocument/2006/relationships/image" Target="../media/image3.emf"/><Relationship Id="rId5" Type="http://schemas.openxmlformats.org/officeDocument/2006/relationships/tags" Target="../tags/tag581.xml"/><Relationship Id="rId10" Type="http://schemas.openxmlformats.org/officeDocument/2006/relationships/oleObject" Target="../embeddings/oleObject78.bin"/><Relationship Id="rId4" Type="http://schemas.openxmlformats.org/officeDocument/2006/relationships/tags" Target="../tags/tag580.xml"/><Relationship Id="rId9" Type="http://schemas.openxmlformats.org/officeDocument/2006/relationships/slideMaster" Target="../slideMasters/slideMaster6.xml"/><Relationship Id="rId14" Type="http://schemas.microsoft.com/office/2007/relationships/hdphoto" Target="../media/hdphoto3.wdp"/></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image" Target="../media/image11.png"/><Relationship Id="rId3" Type="http://schemas.openxmlformats.org/officeDocument/2006/relationships/tags" Target="../tags/tag587.xml"/><Relationship Id="rId7" Type="http://schemas.openxmlformats.org/officeDocument/2006/relationships/tags" Target="../tags/tag591.xml"/><Relationship Id="rId12" Type="http://schemas.openxmlformats.org/officeDocument/2006/relationships/image" Target="../media/image10.png"/><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image" Target="../media/image12.emf"/><Relationship Id="rId5" Type="http://schemas.openxmlformats.org/officeDocument/2006/relationships/tags" Target="../tags/tag589.xml"/><Relationship Id="rId10" Type="http://schemas.openxmlformats.org/officeDocument/2006/relationships/oleObject" Target="../embeddings/oleObject79.bin"/><Relationship Id="rId4" Type="http://schemas.openxmlformats.org/officeDocument/2006/relationships/tags" Target="../tags/tag588.xml"/><Relationship Id="rId9" Type="http://schemas.openxmlformats.org/officeDocument/2006/relationships/slideMaster" Target="../slideMasters/slideMaster6.xml"/><Relationship Id="rId14" Type="http://schemas.microsoft.com/office/2007/relationships/hdphoto" Target="../media/hdphoto3.wdp"/></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600.xml"/><Relationship Id="rId13" Type="http://schemas.openxmlformats.org/officeDocument/2006/relationships/image" Target="../media/image11.png"/><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10.png"/><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tags" Target="../tags/tag598.xml"/><Relationship Id="rId11" Type="http://schemas.openxmlformats.org/officeDocument/2006/relationships/image" Target="../media/image3.emf"/><Relationship Id="rId5" Type="http://schemas.openxmlformats.org/officeDocument/2006/relationships/tags" Target="../tags/tag597.xml"/><Relationship Id="rId10" Type="http://schemas.openxmlformats.org/officeDocument/2006/relationships/oleObject" Target="../embeddings/oleObject80.bin"/><Relationship Id="rId4" Type="http://schemas.openxmlformats.org/officeDocument/2006/relationships/tags" Target="../tags/tag596.xml"/><Relationship Id="rId9" Type="http://schemas.openxmlformats.org/officeDocument/2006/relationships/slideMaster" Target="../slideMasters/slideMaster6.xml"/><Relationship Id="rId14" Type="http://schemas.microsoft.com/office/2007/relationships/hdphoto" Target="../media/hdphoto3.wdp"/></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image" Target="../media/image6.png"/><Relationship Id="rId3" Type="http://schemas.openxmlformats.org/officeDocument/2006/relationships/tags" Target="../tags/tag603.xml"/><Relationship Id="rId7" Type="http://schemas.openxmlformats.org/officeDocument/2006/relationships/slideMaster" Target="../slideMasters/slideMaster6.xml"/><Relationship Id="rId12" Type="http://schemas.openxmlformats.org/officeDocument/2006/relationships/image" Target="../media/image5.png"/><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tags" Target="../tags/tag606.xml"/><Relationship Id="rId11" Type="http://schemas.microsoft.com/office/2007/relationships/hdphoto" Target="../media/hdphoto1.wdp"/><Relationship Id="rId5" Type="http://schemas.openxmlformats.org/officeDocument/2006/relationships/tags" Target="../tags/tag605.xml"/><Relationship Id="rId10" Type="http://schemas.openxmlformats.org/officeDocument/2006/relationships/image" Target="../media/image4.png"/><Relationship Id="rId4" Type="http://schemas.openxmlformats.org/officeDocument/2006/relationships/tags" Target="../tags/tag604.xml"/><Relationship Id="rId9" Type="http://schemas.openxmlformats.org/officeDocument/2006/relationships/image" Target="../media/image7.emf"/><Relationship Id="rId14" Type="http://schemas.microsoft.com/office/2007/relationships/hdphoto" Target="../media/hdphoto2.wdp"/></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609.xml"/><Relationship Id="rId7" Type="http://schemas.openxmlformats.org/officeDocument/2006/relationships/image" Target="../media/image7.emf"/><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oleObject" Target="../embeddings/oleObject82.bin"/><Relationship Id="rId5" Type="http://schemas.openxmlformats.org/officeDocument/2006/relationships/slideMaster" Target="../slideMasters/slideMaster6.xml"/><Relationship Id="rId4" Type="http://schemas.openxmlformats.org/officeDocument/2006/relationships/tags" Target="../tags/tag610.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3.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jpeg"/><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image" Target="../media/image24.jpeg"/><Relationship Id="rId5" Type="http://schemas.openxmlformats.org/officeDocument/2006/relationships/image" Target="../media/image23.emf"/><Relationship Id="rId4" Type="http://schemas.openxmlformats.org/officeDocument/2006/relationships/oleObject" Target="../embeddings/oleObject85.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3.xml"/><Relationship Id="rId1" Type="http://schemas.openxmlformats.org/officeDocument/2006/relationships/tags" Target="../tags/tag632.xml"/><Relationship Id="rId5" Type="http://schemas.openxmlformats.org/officeDocument/2006/relationships/image" Target="../media/image25.emf"/><Relationship Id="rId4" Type="http://schemas.openxmlformats.org/officeDocument/2006/relationships/oleObject" Target="../embeddings/oleObject8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jpeg"/><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24.jpeg"/><Relationship Id="rId5" Type="http://schemas.openxmlformats.org/officeDocument/2006/relationships/image" Target="../media/image23.emf"/><Relationship Id="rId4" Type="http://schemas.openxmlformats.org/officeDocument/2006/relationships/oleObject" Target="../embeddings/oleObject8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4.xml"/><Relationship Id="rId1" Type="http://schemas.openxmlformats.org/officeDocument/2006/relationships/tags" Target="../tags/tag653.xml"/><Relationship Id="rId5" Type="http://schemas.openxmlformats.org/officeDocument/2006/relationships/image" Target="../media/image25.emf"/><Relationship Id="rId4" Type="http://schemas.openxmlformats.org/officeDocument/2006/relationships/oleObject" Target="../embeddings/oleObject89.bin"/></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77.xml"/><Relationship Id="rId7" Type="http://schemas.openxmlformats.org/officeDocument/2006/relationships/oleObject" Target="../embeddings/oleObject91.bin"/><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slideMaster" Target="../slideMasters/slideMaster9.xml"/><Relationship Id="rId5" Type="http://schemas.openxmlformats.org/officeDocument/2006/relationships/tags" Target="../tags/tag679.xml"/><Relationship Id="rId10" Type="http://schemas.openxmlformats.org/officeDocument/2006/relationships/image" Target="../media/image17.jpeg"/><Relationship Id="rId4" Type="http://schemas.openxmlformats.org/officeDocument/2006/relationships/tags" Target="../tags/tag678.xml"/><Relationship Id="rId9" Type="http://schemas.openxmlformats.org/officeDocument/2006/relationships/image" Target="../media/image16.jpeg"/></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82.xml"/><Relationship Id="rId7" Type="http://schemas.openxmlformats.org/officeDocument/2006/relationships/tags" Target="../tags/tag686.xml"/><Relationship Id="rId2" Type="http://schemas.openxmlformats.org/officeDocument/2006/relationships/tags" Target="../tags/tag681.xml"/><Relationship Id="rId1" Type="http://schemas.openxmlformats.org/officeDocument/2006/relationships/tags" Target="../tags/tag680.xml"/><Relationship Id="rId6" Type="http://schemas.openxmlformats.org/officeDocument/2006/relationships/tags" Target="../tags/tag685.xml"/><Relationship Id="rId5" Type="http://schemas.openxmlformats.org/officeDocument/2006/relationships/tags" Target="../tags/tag684.xml"/><Relationship Id="rId10" Type="http://schemas.openxmlformats.org/officeDocument/2006/relationships/image" Target="../media/image3.emf"/><Relationship Id="rId4" Type="http://schemas.openxmlformats.org/officeDocument/2006/relationships/tags" Target="../tags/tag683.xml"/><Relationship Id="rId9" Type="http://schemas.openxmlformats.org/officeDocument/2006/relationships/oleObject" Target="../embeddings/oleObject92.bin"/></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689.xml"/><Relationship Id="rId7" Type="http://schemas.openxmlformats.org/officeDocument/2006/relationships/slideMaster" Target="../slideMasters/slideMaster9.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tags" Target="../tags/tag692.xml"/><Relationship Id="rId5" Type="http://schemas.openxmlformats.org/officeDocument/2006/relationships/tags" Target="../tags/tag691.xml"/><Relationship Id="rId4" Type="http://schemas.openxmlformats.org/officeDocument/2006/relationships/tags" Target="../tags/tag690.xml"/><Relationship Id="rId9"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94.bin"/><Relationship Id="rId3" Type="http://schemas.openxmlformats.org/officeDocument/2006/relationships/tags" Target="../tags/tag695.xml"/><Relationship Id="rId7" Type="http://schemas.openxmlformats.org/officeDocument/2006/relationships/slideMaster" Target="../slideMasters/slideMaster9.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tags" Target="../tags/tag698.xml"/><Relationship Id="rId5" Type="http://schemas.openxmlformats.org/officeDocument/2006/relationships/tags" Target="../tags/tag697.xml"/><Relationship Id="rId4" Type="http://schemas.openxmlformats.org/officeDocument/2006/relationships/tags" Target="../tags/tag696.xml"/><Relationship Id="rId9"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701.xml"/><Relationship Id="rId7" Type="http://schemas.openxmlformats.org/officeDocument/2006/relationships/slideMaster" Target="../slideMasters/slideMaster9.xml"/><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tags" Target="../tags/tag704.xml"/><Relationship Id="rId5" Type="http://schemas.openxmlformats.org/officeDocument/2006/relationships/tags" Target="../tags/tag703.xml"/><Relationship Id="rId4" Type="http://schemas.openxmlformats.org/officeDocument/2006/relationships/tags" Target="../tags/tag702.xml"/><Relationship Id="rId9"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07.xml"/><Relationship Id="rId7" Type="http://schemas.openxmlformats.org/officeDocument/2006/relationships/tags" Target="../tags/tag711.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tags" Target="../tags/tag710.xml"/><Relationship Id="rId5" Type="http://schemas.openxmlformats.org/officeDocument/2006/relationships/tags" Target="../tags/tag709.xml"/><Relationship Id="rId10" Type="http://schemas.openxmlformats.org/officeDocument/2006/relationships/image" Target="../media/image7.emf"/><Relationship Id="rId4" Type="http://schemas.openxmlformats.org/officeDocument/2006/relationships/tags" Target="../tags/tag708.xml"/><Relationship Id="rId9" Type="http://schemas.openxmlformats.org/officeDocument/2006/relationships/oleObject" Target="../embeddings/oleObject9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719.xml"/><Relationship Id="rId13" Type="http://schemas.openxmlformats.org/officeDocument/2006/relationships/image" Target="../media/image26.png"/><Relationship Id="rId3" Type="http://schemas.openxmlformats.org/officeDocument/2006/relationships/tags" Target="../tags/tag714.xml"/><Relationship Id="rId7" Type="http://schemas.openxmlformats.org/officeDocument/2006/relationships/tags" Target="../tags/tag718.xml"/><Relationship Id="rId12" Type="http://schemas.openxmlformats.org/officeDocument/2006/relationships/image" Target="../media/image10.png"/><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tags" Target="../tags/tag717.xml"/><Relationship Id="rId11" Type="http://schemas.openxmlformats.org/officeDocument/2006/relationships/image" Target="../media/image3.emf"/><Relationship Id="rId5" Type="http://schemas.openxmlformats.org/officeDocument/2006/relationships/tags" Target="../tags/tag716.xml"/><Relationship Id="rId10" Type="http://schemas.openxmlformats.org/officeDocument/2006/relationships/oleObject" Target="../embeddings/oleObject97.bin"/><Relationship Id="rId4" Type="http://schemas.openxmlformats.org/officeDocument/2006/relationships/tags" Target="../tags/tag715.xml"/><Relationship Id="rId9" Type="http://schemas.openxmlformats.org/officeDocument/2006/relationships/slideMaster" Target="../slideMasters/slideMaster9.xml"/><Relationship Id="rId14" Type="http://schemas.microsoft.com/office/2007/relationships/hdphoto" Target="../media/hdphoto11.wdp"/></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EEE62-EBB7-4181-8D0F-C77780C1E7D8}"/>
              </a:ext>
            </a:extLst>
          </p:cNvPr>
          <p:cNvSpPr>
            <a:spLocks noGrp="1"/>
          </p:cNvSpPr>
          <p:nvPr>
            <p:ph type="ctrTitle"/>
          </p:nvPr>
        </p:nvSpPr>
        <p:spPr>
          <a:xfrm>
            <a:off x="1524000" y="2507383"/>
            <a:ext cx="9144000" cy="1159982"/>
          </a:xfrm>
        </p:spPr>
        <p:txBody>
          <a:bodyPr anchor="b">
            <a:noAutofit/>
          </a:bodyPr>
          <a:lstStyle>
            <a:lvl1pPr algn="ctr">
              <a:defRPr sz="40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A6C248EE-14FE-4C7E-BEDB-0AC15A7EFF9F}"/>
              </a:ext>
            </a:extLst>
          </p:cNvPr>
          <p:cNvSpPr>
            <a:spLocks noGrp="1"/>
          </p:cNvSpPr>
          <p:nvPr>
            <p:ph type="subTitle" idx="1"/>
          </p:nvPr>
        </p:nvSpPr>
        <p:spPr>
          <a:xfrm>
            <a:off x="1524000" y="3895966"/>
            <a:ext cx="9144000" cy="710507"/>
          </a:xfrm>
        </p:spPr>
        <p:txBody>
          <a:bodyPr/>
          <a:lstStyle>
            <a:lvl1pPr marL="0" indent="0" algn="ctr">
              <a:buNone/>
              <a:defRPr sz="2400" b="1" i="0">
                <a:solidFill>
                  <a:schemeClr val="bg1"/>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80156FED-73A8-9941-9264-A23F0338B6B6}"/>
              </a:ext>
            </a:extLst>
          </p:cNvPr>
          <p:cNvCxnSpPr>
            <a:cxnSpLocks/>
          </p:cNvCxnSpPr>
          <p:nvPr userDrawn="1"/>
        </p:nvCxnSpPr>
        <p:spPr>
          <a:xfrm>
            <a:off x="4775003" y="3826691"/>
            <a:ext cx="2641994" cy="0"/>
          </a:xfrm>
          <a:prstGeom prst="line">
            <a:avLst/>
          </a:prstGeom>
          <a:ln w="76200">
            <a:solidFill>
              <a:srgbClr val="C880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5852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C90085F-0C5D-430F-9D17-21159A8A971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61948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325A52-F9F5-49A8-B334-5E1B8032C139}"/>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EC272AA3-9028-4DC3-BA67-2DC90F70D43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B088E19A-1AF1-45D9-B231-DBC3C73EFBC2}"/>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85865606-666D-4EBF-B15D-9DFE6B1449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BEB76E29-34D2-4581-9611-BF8499735B71}"/>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6ED56F0-B243-4270-83E1-66D3E357D7D9}"/>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FCE09B65-11BE-4398-9B93-EB83A697EA6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9F3A607-2754-4B4B-A244-0878F71DD505}"/>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904EB0B-1D99-44A0-9D1D-CA6659EEFA0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6672C9-FC8C-4F21-895A-4012EBB1B2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4BEDE614-BE19-476A-9DDE-D3A34E147E0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93B8053-3B62-41EC-A88C-FF34B6597A7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6A73CC4-2934-4143-A8D0-6F9796C9674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320ED28-6388-461C-BFA5-DE204470AF9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7662221-3269-4BD3-8881-3B9B97E82786}"/>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09D0F6F7-C8EA-4189-84F1-9F4CC4E42B9C}"/>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510A3529-8430-4616-861F-3382D56EE618}"/>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897A925-9287-4B17-8EBA-7AEF407AE29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4BFFFBF3-12FC-4C5C-97B4-6C356D2441B2}"/>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ADA212A-AEE4-4EFC-BD40-8C9A3A63D4E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0E1C911-8EBE-4600-89FC-58E0156DB3C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658244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0ACAA81B-90A7-4A49-AA37-873F677635FE}"/>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174E6DAF-6B06-4807-9213-33C908E719B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1C2EBD83-A1FD-4292-BE32-3A03B5B5FE48}"/>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019B946-4640-4E1B-8B70-A31DD6C8948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56709DA-61AF-4FDE-9038-0DE9C323F66E}"/>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AFE3DE-7087-49F1-99C8-C7B91F98B282}"/>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5A07855-3A58-4E23-8B51-744DF88A3603}"/>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22DC008-4B7D-481A-A09E-C0C890D9D95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4C9222C-7BED-4E1E-81E9-4AA0F56938E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09B1EB7-7372-4577-96F1-70D96FDDEC8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E3A20C1-5E1F-4A58-A027-0A85344074E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89E1BEA-8364-4113-9C09-036666D3F632}"/>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742BD27-8450-4BCC-964F-D796E268D4B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F167EBF9-04E0-46E3-850C-835005D9295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305AED6-070B-4B65-B012-928A80FC553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FFA3DCA-F213-410B-9526-285D8745DD0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246AC750-0488-4E17-83A0-C862149D0DE7}"/>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8ECA2D96-980A-48F5-87E1-332D01C648F0}"/>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05C4CF1B-096F-422F-AD33-F5C37C5307F4}"/>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E6CE48F3-8F62-434B-A0CC-F13339B53F3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40DE9E-41E0-4056-B73E-E8D3F768DC71}"/>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547534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702062F0-2474-47FE-AFCB-7DB2E5F8BB51}"/>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6038A781-6E11-45C8-8F58-D84B7893253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2199006-044B-4548-9CD9-44F42D3253EE}"/>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410F83D-0D67-41A0-B3BB-C4686D9AC7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45BAAAE-D0E4-4C47-B92E-801D86EB8B6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642DD567-848C-4786-8D17-94B411F03F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37E1297E-138D-45FD-91EF-29224459821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8A4BA17-8BFC-4E10-A138-4B4240045A5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6C956AA-9C84-4E4B-AD85-08C7F05FA55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95EAC5C-7C47-427D-824A-A1B4336E290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6027068-9B6E-4E6B-BC23-4C10FFAFA52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6C5C74E-3E79-4FAB-B1D6-F51B62AB420D}"/>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2B47949-9B55-4909-BF03-74103C98D72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B4092786-E365-4B09-97A2-DDC9A64A5352}"/>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98E1C81-B619-4DE7-95E9-86D64379E89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DB8779E-859F-4E50-A168-FF4D80ED5FE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733822F2-44DC-4698-9C03-07710DC42373}"/>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B1A205C-1C48-4943-B750-021494D37D5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8B36F7B2-8C52-4C24-9CC4-07C0A26920A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A7F7B88B-7DF2-4980-9CF5-6049F30EBF8C}"/>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951F8FF-ED5A-4EB7-BBA5-5C3273F2BA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757853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9F98B04B-0152-4879-8A69-2353A1191B43}"/>
              </a:ext>
            </a:extLst>
          </p:cNvPr>
          <p:cNvGrpSpPr/>
          <p:nvPr userDrawn="1"/>
        </p:nvGrpSpPr>
        <p:grpSpPr>
          <a:xfrm>
            <a:off x="9318251" y="6528816"/>
            <a:ext cx="2033975" cy="256591"/>
            <a:chOff x="9596444" y="6528816"/>
            <a:chExt cx="2033975" cy="256591"/>
          </a:xfrm>
        </p:grpSpPr>
        <p:sp>
          <p:nvSpPr>
            <p:cNvPr id="25" name="Freeform: Shape 24">
              <a:extLst>
                <a:ext uri="{FF2B5EF4-FFF2-40B4-BE49-F238E27FC236}">
                  <a16:creationId xmlns:a16="http://schemas.microsoft.com/office/drawing/2014/main" id="{552CCDF8-63E1-45BF-9D88-4C40F2B263F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6" name="Group 25">
              <a:extLst>
                <a:ext uri="{FF2B5EF4-FFF2-40B4-BE49-F238E27FC236}">
                  <a16:creationId xmlns:a16="http://schemas.microsoft.com/office/drawing/2014/main" id="{99271246-D64B-4358-8398-C63EAC61F75E}"/>
                </a:ext>
              </a:extLst>
            </p:cNvPr>
            <p:cNvGrpSpPr/>
            <p:nvPr userDrawn="1"/>
          </p:nvGrpSpPr>
          <p:grpSpPr>
            <a:xfrm>
              <a:off x="10651738" y="6635448"/>
              <a:ext cx="978681" cy="68285"/>
              <a:chOff x="10651738" y="6635448"/>
              <a:chExt cx="978681" cy="68285"/>
            </a:xfrm>
            <a:solidFill>
              <a:schemeClr val="tx1"/>
            </a:solidFill>
          </p:grpSpPr>
          <p:sp>
            <p:nvSpPr>
              <p:cNvPr id="31" name="Freeform: Shape 30">
                <a:extLst>
                  <a:ext uri="{FF2B5EF4-FFF2-40B4-BE49-F238E27FC236}">
                    <a16:creationId xmlns:a16="http://schemas.microsoft.com/office/drawing/2014/main" id="{EF1F8AAC-04D6-4029-82A9-2C2D31BCFBFE}"/>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890676B-8A42-4FF8-B0B0-B013DA7CE06A}"/>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16FBEDF-6BE3-43E8-8FF0-368760DEF077}"/>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DC0F9DD-8A72-4F43-92FF-077311C107D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695F5EF-AB72-4273-A7AF-46B55B77A15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9D9D6B4-051A-4C76-8488-3230D80B6F4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210D327-6484-475B-ACE8-223B30591A2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0228F55-9027-4BE3-A4E4-EC7FCB734E8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3E77D07-7C87-4F7A-9F4F-7C501FE5540A}"/>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2E13801-8ABF-4230-ADB5-E8C69972C88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EB4BC7F-EF9C-42A3-8F6A-878653022BA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FD907A7-56A2-49BA-BD33-DB2D443537A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EFCB608-F37C-44D4-9297-8D228670318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DD430FED-C35D-4215-A831-E49674F79866}"/>
                </a:ext>
              </a:extLst>
            </p:cNvPr>
            <p:cNvGrpSpPr/>
            <p:nvPr userDrawn="1"/>
          </p:nvGrpSpPr>
          <p:grpSpPr>
            <a:xfrm>
              <a:off x="9596444" y="6528816"/>
              <a:ext cx="978690" cy="218599"/>
              <a:chOff x="9596444" y="6528816"/>
              <a:chExt cx="978690" cy="218599"/>
            </a:xfrm>
          </p:grpSpPr>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C9F4E7E1-525A-4F4B-BEBF-41C72E078B0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5FE4C96A-F737-4E80-96D4-98B40EE4066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E2005FDF-037D-487A-A3E0-A9224133ED6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4" name="Slide Number">
            <a:extLst>
              <a:ext uri="{FF2B5EF4-FFF2-40B4-BE49-F238E27FC236}">
                <a16:creationId xmlns:a16="http://schemas.microsoft.com/office/drawing/2014/main" id="{C9EEF503-7B97-4C15-A6A0-4B3DD1E642DA}"/>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804595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87959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EDCB1688-880B-44E6-8532-22D4FA32778D}"/>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6" name="Group 25">
            <a:extLst>
              <a:ext uri="{FF2B5EF4-FFF2-40B4-BE49-F238E27FC236}">
                <a16:creationId xmlns:a16="http://schemas.microsoft.com/office/drawing/2014/main" id="{367C718F-B6FC-4F32-A687-E6345369BF48}"/>
              </a:ext>
            </a:extLst>
          </p:cNvPr>
          <p:cNvGrpSpPr/>
          <p:nvPr userDrawn="1"/>
        </p:nvGrpSpPr>
        <p:grpSpPr>
          <a:xfrm>
            <a:off x="9318251" y="6528816"/>
            <a:ext cx="2033975" cy="256591"/>
            <a:chOff x="9596444" y="6528816"/>
            <a:chExt cx="2033975" cy="256591"/>
          </a:xfrm>
        </p:grpSpPr>
        <p:grpSp>
          <p:nvGrpSpPr>
            <p:cNvPr id="27" name="Group 26">
              <a:extLst>
                <a:ext uri="{FF2B5EF4-FFF2-40B4-BE49-F238E27FC236}">
                  <a16:creationId xmlns:a16="http://schemas.microsoft.com/office/drawing/2014/main" id="{20D85453-3475-47CD-BA49-9BAF7B54FD8D}"/>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C002211B-6254-4B48-85B8-915BBDBEF2B8}"/>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E0E980E5-9629-4B99-82C2-063791A7FEE6}"/>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88531A5-70FC-4E31-97BC-81F1100F470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649D9D58-2D0A-4C94-8097-09A3B606F043}"/>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703547EE-6B23-4900-A907-02FF77FBF2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DD82EC54-A6E1-4012-A726-EFA474F867D8}"/>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BEAB689-2287-43AD-8B55-3EBEC14E75D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733F500-C94C-4049-AB0A-580327ADDC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CB0714E1-36E0-453E-8138-776AE641A09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C8D694D-8BF1-4CAD-AF33-FE5C69136DA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4E35D0F-847A-4A08-A158-584FC4ECCD1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754A57D-06F0-4B99-91F5-FDD3A79EDB2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D93099B-6CBA-497E-865E-960086F4B21C}"/>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E1A6EBE-B107-4F1E-A20D-3D3E13D891AE}"/>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27C0880C-4B8C-4B2A-8176-21CBAA805705}"/>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3CAD8EF4-73AA-484C-80B7-10C6455E0A6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9A1B76F2-1580-4C26-8214-59733C9D105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5" name="Slide Number">
            <a:extLst>
              <a:ext uri="{FF2B5EF4-FFF2-40B4-BE49-F238E27FC236}">
                <a16:creationId xmlns:a16="http://schemas.microsoft.com/office/drawing/2014/main" id="{5B42C0FF-3D21-4746-99D6-4E4EF88BDCB1}"/>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1530535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89EE01A-1C15-4DF9-A3EC-82610720CEA0}"/>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558689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3" name="Group 52">
            <a:extLst>
              <a:ext uri="{FF2B5EF4-FFF2-40B4-BE49-F238E27FC236}">
                <a16:creationId xmlns:a16="http://schemas.microsoft.com/office/drawing/2014/main" id="{C52640D5-C2A7-4D5A-82E3-7F2081D2264A}"/>
              </a:ext>
            </a:extLst>
          </p:cNvPr>
          <p:cNvGrpSpPr/>
          <p:nvPr userDrawn="1"/>
        </p:nvGrpSpPr>
        <p:grpSpPr>
          <a:xfrm>
            <a:off x="3302368" y="3076576"/>
            <a:ext cx="5587266" cy="704850"/>
            <a:chOff x="3302368" y="3076576"/>
            <a:chExt cx="5587266" cy="704850"/>
          </a:xfrm>
        </p:grpSpPr>
        <p:sp>
          <p:nvSpPr>
            <p:cNvPr id="14" name="Freeform: Shape 13">
              <a:extLst>
                <a:ext uri="{FF2B5EF4-FFF2-40B4-BE49-F238E27FC236}">
                  <a16:creationId xmlns:a16="http://schemas.microsoft.com/office/drawing/2014/main" id="{DE52504B-ED5A-4ABC-906C-C5D956CD9F25}"/>
                </a:ext>
              </a:extLst>
            </p:cNvPr>
            <p:cNvSpPr/>
            <p:nvPr/>
          </p:nvSpPr>
          <p:spPr bwMode="ltGray">
            <a:xfrm>
              <a:off x="6728190" y="3162606"/>
              <a:ext cx="813666" cy="618820"/>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15" name="Group 14">
              <a:extLst>
                <a:ext uri="{FF2B5EF4-FFF2-40B4-BE49-F238E27FC236}">
                  <a16:creationId xmlns:a16="http://schemas.microsoft.com/office/drawing/2014/main" id="{98641A9D-4DC7-4792-8A7F-A70CFD2B5B6C}"/>
                </a:ext>
              </a:extLst>
            </p:cNvPr>
            <p:cNvGrpSpPr/>
            <p:nvPr userDrawn="1"/>
          </p:nvGrpSpPr>
          <p:grpSpPr>
            <a:xfrm>
              <a:off x="6201228" y="3369492"/>
              <a:ext cx="2688406" cy="187577"/>
              <a:chOff x="10651738" y="6635448"/>
              <a:chExt cx="978681" cy="68285"/>
            </a:xfrm>
            <a:solidFill>
              <a:schemeClr val="tx1"/>
            </a:solidFill>
          </p:grpSpPr>
          <p:sp>
            <p:nvSpPr>
              <p:cNvPr id="20" name="Freeform: Shape 19">
                <a:extLst>
                  <a:ext uri="{FF2B5EF4-FFF2-40B4-BE49-F238E27FC236}">
                    <a16:creationId xmlns:a16="http://schemas.microsoft.com/office/drawing/2014/main" id="{C6F02C6B-D586-4E1F-A319-33FB070C2D6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D7D25B7-6398-4BCD-AAB5-76B3A9DEE9D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52F243-63BC-4A1E-8094-0208EC7EEA98}"/>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0565766-BFA1-4C11-B6C2-E4E50492C60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11E93A0F-9FF1-4C8C-8C01-D8AAF296F9C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E41DFE5-AABA-47B9-9D0A-E6FC4CE3D5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095C75E-C985-4EBE-8183-B749FBEDA5B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99C64CA0-33C8-4B9B-B80E-2B795888339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A4C7BBF-C137-4D57-BB22-36168F2FF07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EBC8D6C-904B-4952-B99F-AC3984C966B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23F6A3-2BF6-4F5B-9594-E5F78E727EB3}"/>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4492F39-8B60-483B-BCE2-CA916B186F1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1DE0FDC-988E-40C2-AA73-EAF3AE866E9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pic>
          <p:nvPicPr>
            <p:cNvPr id="18" name="Picture 17" descr="Michigan among top 10 pro-business states, named most improved state in  CNBC rankings | Economic development, Pure michigan, Michigan">
              <a:extLst>
                <a:ext uri="{FF2B5EF4-FFF2-40B4-BE49-F238E27FC236}">
                  <a16:creationId xmlns:a16="http://schemas.microsoft.com/office/drawing/2014/main" id="{DAEC263C-8BE3-4277-A4E7-52F1BA0071F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815" t="50755" r="52979" b="40362"/>
            <a:stretch/>
          </p:blipFill>
          <p:spPr bwMode="ltGray">
            <a:xfrm>
              <a:off x="3302368" y="3492062"/>
              <a:ext cx="2629687" cy="185001"/>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descr="Michigan among top 10 pro-business states, named most improved state in  CNBC rankings | Economic development, Pure michigan, Michigan">
              <a:extLst>
                <a:ext uri="{FF2B5EF4-FFF2-40B4-BE49-F238E27FC236}">
                  <a16:creationId xmlns:a16="http://schemas.microsoft.com/office/drawing/2014/main" id="{34FA4C92-F722-46F2-AE34-F462A4B88043}"/>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815" t="30807" r="52037" b="49245"/>
            <a:stretch/>
          </p:blipFill>
          <p:spPr bwMode="ltGray">
            <a:xfrm>
              <a:off x="3302368" y="3076576"/>
              <a:ext cx="2688431" cy="415486"/>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Michigan among top 10 pro-business states, named most improved state in  CNBC rankings | Economic development, Pure michigan, Michigan">
              <a:extLst>
                <a:ext uri="{FF2B5EF4-FFF2-40B4-BE49-F238E27FC236}">
                  <a16:creationId xmlns:a16="http://schemas.microsoft.com/office/drawing/2014/main" id="{2AD44453-2870-46B9-9F93-64A4EAC378DD}"/>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7963" t="34937" r="48877" b="36416"/>
            <a:stretch/>
          </p:blipFill>
          <p:spPr bwMode="ltGray">
            <a:xfrm>
              <a:off x="5990796" y="3162606"/>
              <a:ext cx="196831" cy="596666"/>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304318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993260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138" b="1"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4/23</a:t>
            </a:fld>
            <a:endParaRPr kumimoji="0" lang="en-US"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21803430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4863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F8C573BE-9C2D-4EF2-A4D3-A79B8B1D3A42}"/>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20409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9012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337808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65219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b="0"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4" name="Slide Number">
            <a:extLst>
              <a:ext uri="{FF2B5EF4-FFF2-40B4-BE49-F238E27FC236}">
                <a16:creationId xmlns:a16="http://schemas.microsoft.com/office/drawing/2014/main" id="{1D7454DD-05E9-4168-8520-1688A46A9A11}"/>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575706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8051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788042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2648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6"/>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5836727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94993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742650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1690"/>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78310"/>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19570969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387657351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729B4F-F462-4FDD-B20E-BD58CBBF5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A3EEE62-EBB7-4181-8D0F-C77780C1E7D8}"/>
              </a:ext>
            </a:extLst>
          </p:cNvPr>
          <p:cNvSpPr>
            <a:spLocks noGrp="1"/>
          </p:cNvSpPr>
          <p:nvPr>
            <p:ph type="ctrTitle"/>
          </p:nvPr>
        </p:nvSpPr>
        <p:spPr>
          <a:xfrm>
            <a:off x="1524000" y="2507383"/>
            <a:ext cx="9144000" cy="1159982"/>
          </a:xfrm>
        </p:spPr>
        <p:txBody>
          <a:bodyPr anchor="b">
            <a:noAutofit/>
          </a:bodyPr>
          <a:lstStyle>
            <a:lvl1pPr algn="ctr">
              <a:defRPr sz="40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A6C248EE-14FE-4C7E-BEDB-0AC15A7EFF9F}"/>
              </a:ext>
            </a:extLst>
          </p:cNvPr>
          <p:cNvSpPr>
            <a:spLocks noGrp="1"/>
          </p:cNvSpPr>
          <p:nvPr>
            <p:ph type="subTitle" idx="1"/>
          </p:nvPr>
        </p:nvSpPr>
        <p:spPr>
          <a:xfrm>
            <a:off x="1524000" y="3895966"/>
            <a:ext cx="9144000" cy="710507"/>
          </a:xfrm>
        </p:spPr>
        <p:txBody>
          <a:bodyPr/>
          <a:lstStyle>
            <a:lvl1pPr marL="0" indent="0" algn="ctr">
              <a:buNone/>
              <a:defRPr sz="2400" b="1" i="0">
                <a:solidFill>
                  <a:schemeClr val="bg1"/>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7ED6345-8783-4208-8215-2D47763524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1981" y="356205"/>
            <a:ext cx="4110730" cy="1403881"/>
          </a:xfrm>
          <a:prstGeom prst="rect">
            <a:avLst/>
          </a:prstGeom>
        </p:spPr>
      </p:pic>
      <p:cxnSp>
        <p:nvCxnSpPr>
          <p:cNvPr id="10" name="Straight Connector 9">
            <a:extLst>
              <a:ext uri="{FF2B5EF4-FFF2-40B4-BE49-F238E27FC236}">
                <a16:creationId xmlns:a16="http://schemas.microsoft.com/office/drawing/2014/main" id="{13ECABE3-0F4B-4EC0-80CB-7508FC6DD3E2}"/>
              </a:ext>
            </a:extLst>
          </p:cNvPr>
          <p:cNvCxnSpPr/>
          <p:nvPr userDrawn="1"/>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2159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E7D88E3-6983-4AB0-9A51-6DA9B91858D2}"/>
              </a:ext>
            </a:extLst>
          </p:cNvPr>
          <p:cNvSpPr>
            <a:spLocks noGrp="1"/>
          </p:cNvSpPr>
          <p:nvPr>
            <p:ph type="title" hasCustomPrompt="1"/>
          </p:nvPr>
        </p:nvSpPr>
        <p:spPr>
          <a:xfrm>
            <a:off x="838200" y="-5811"/>
            <a:ext cx="10515600" cy="1373696"/>
          </a:xfrm>
        </p:spPr>
        <p:txBody>
          <a:bodyPr anchor="ctr">
            <a:no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6467803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F5A88EF-2119-4F1C-91F5-85A89D53EDCD}"/>
              </a:ext>
            </a:extLst>
          </p:cNvPr>
          <p:cNvSpPr txBox="1">
            <a:spLocks/>
          </p:cNvSpPr>
          <p:nvPr userDrawn="1"/>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CA16824-BE4D-4921-974B-7F9AF6B1CB55}"/>
              </a:ext>
            </a:extLst>
          </p:cNvPr>
          <p:cNvSpPr>
            <a:spLocks noGrp="1"/>
          </p:cNvSpPr>
          <p:nvPr>
            <p:ph type="title" hasCustomPrompt="1"/>
          </p:nvPr>
        </p:nvSpPr>
        <p:spPr>
          <a:xfrm>
            <a:off x="838200" y="1"/>
            <a:ext cx="10515600" cy="1367882"/>
          </a:xfrm>
        </p:spPr>
        <p:txBody>
          <a:bodyPr>
            <a:norm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E2BEA73-AC1A-4CA0-B17D-1F77448AD3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7C1358-60BA-4AD9-AC74-341BEBE566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163E2F-5EB2-4D68-80F0-6E6B8E967975}"/>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33417614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42" name="Group 41">
            <a:extLst>
              <a:ext uri="{FF2B5EF4-FFF2-40B4-BE49-F238E27FC236}">
                <a16:creationId xmlns:a16="http://schemas.microsoft.com/office/drawing/2014/main" id="{DF90BE24-DAD5-40A0-8D1E-210869C38659}"/>
              </a:ext>
            </a:extLst>
          </p:cNvPr>
          <p:cNvGrpSpPr/>
          <p:nvPr userDrawn="1"/>
        </p:nvGrpSpPr>
        <p:grpSpPr>
          <a:xfrm>
            <a:off x="9318251" y="6528816"/>
            <a:ext cx="2033975" cy="256591"/>
            <a:chOff x="9596444" y="6528816"/>
            <a:chExt cx="2033975" cy="256591"/>
          </a:xfrm>
        </p:grpSpPr>
        <p:sp>
          <p:nvSpPr>
            <p:cNvPr id="28" name="Freeform: Shape 27">
              <a:extLst>
                <a:ext uri="{FF2B5EF4-FFF2-40B4-BE49-F238E27FC236}">
                  <a16:creationId xmlns:a16="http://schemas.microsoft.com/office/drawing/2014/main" id="{CF262B2A-5A0D-4E43-95E8-DD7617C0B554}"/>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8" name="Group 7">
              <a:extLst>
                <a:ext uri="{FF2B5EF4-FFF2-40B4-BE49-F238E27FC236}">
                  <a16:creationId xmlns:a16="http://schemas.microsoft.com/office/drawing/2014/main" id="{FAB479E1-AAA5-4223-906C-972BFAC08A5B}"/>
                </a:ext>
              </a:extLst>
            </p:cNvPr>
            <p:cNvGrpSpPr/>
            <p:nvPr userDrawn="1"/>
          </p:nvGrpSpPr>
          <p:grpSpPr>
            <a:xfrm>
              <a:off x="10651738" y="6635448"/>
              <a:ext cx="978681" cy="68285"/>
              <a:chOff x="10651738" y="6635448"/>
              <a:chExt cx="978681" cy="68285"/>
            </a:xfrm>
            <a:solidFill>
              <a:schemeClr val="tx1"/>
            </a:solidFill>
          </p:grpSpPr>
          <p:sp>
            <p:nvSpPr>
              <p:cNvPr id="29" name="Freeform: Shape 28">
                <a:extLst>
                  <a:ext uri="{FF2B5EF4-FFF2-40B4-BE49-F238E27FC236}">
                    <a16:creationId xmlns:a16="http://schemas.microsoft.com/office/drawing/2014/main" id="{3950F227-6E54-465D-9A6F-589A2C30AF7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E7BE0C3-19B3-4063-A924-03969281275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794EB8C-307D-46FD-9128-1648DF6A9974}"/>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16AD69D-2987-4D61-AC91-4C2280E39147}"/>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1222EC3-084F-4FA5-AE2E-BE1EA133318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6E7C789-BFAF-4468-A29B-F92A1784C0FE}"/>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4C6DD3BF-B8E6-4D23-904E-0D4987EF185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53940B6-B5D3-479D-805F-BD6D9D3B13A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CA9029C-AE55-4498-9F30-9B304ADD00A6}"/>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453AC4FE-E49F-4446-9822-E81FF4DE943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46F738A-79F5-40A0-91C4-9336C85BFD2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9DA124E-6738-491C-88FE-D5F24C7F0EF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8EF10BD-4D9D-4353-B2C2-4D541A2A64C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716BE200-D122-419E-B9F6-951B77125BA3}"/>
                </a:ext>
              </a:extLst>
            </p:cNvPr>
            <p:cNvGrpSpPr/>
            <p:nvPr userDrawn="1"/>
          </p:nvGrpSpPr>
          <p:grpSpPr>
            <a:xfrm>
              <a:off x="9596444" y="6528816"/>
              <a:ext cx="978690" cy="218599"/>
              <a:chOff x="9596444" y="6528816"/>
              <a:chExt cx="978690" cy="218599"/>
            </a:xfrm>
          </p:grpSpPr>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E4B7F58D-27A1-4049-AB99-6D919A70E9C6}"/>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C9E2E8C7-47BE-4CE7-B56F-D8833A6E75BC}"/>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80BA5C73-1154-4FC0-8D0A-87A7645573A7}"/>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51E2DB51-23D5-4823-B0EF-8702ECF5E6D2}"/>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6387048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2153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C2C6D-3A24-1B41-8E69-5DC9CC94791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FB45B2-DC5E-FF4A-9106-650D7D60A564}"/>
              </a:ext>
            </a:extLst>
          </p:cNvPr>
          <p:cNvSpPr>
            <a:spLocks noGrp="1"/>
          </p:cNvSpPr>
          <p:nvPr>
            <p:ph type="dt" sz="half" idx="10"/>
          </p:nvPr>
        </p:nvSpPr>
        <p:spPr/>
        <p:txBody>
          <a:bodyPr/>
          <a:lstStyle/>
          <a:p>
            <a:fld id="{34792910-D3F0-B043-BCDA-A38946D0017B}" type="datetimeFigureOut">
              <a:rPr lang="en-US" smtClean="0"/>
              <a:t>2/14/23</a:t>
            </a:fld>
            <a:endParaRPr lang="en-US" dirty="0"/>
          </a:p>
        </p:txBody>
      </p:sp>
      <p:sp>
        <p:nvSpPr>
          <p:cNvPr id="4" name="Footer Placeholder 3">
            <a:extLst>
              <a:ext uri="{FF2B5EF4-FFF2-40B4-BE49-F238E27FC236}">
                <a16:creationId xmlns:a16="http://schemas.microsoft.com/office/drawing/2014/main" id="{0FB0687C-94E5-254C-9534-B641CFBC50E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7C8FFD0-61FF-3D45-970C-F0C01E74504F}"/>
              </a:ext>
            </a:extLst>
          </p:cNvPr>
          <p:cNvSpPr>
            <a:spLocks noGrp="1"/>
          </p:cNvSpPr>
          <p:nvPr>
            <p:ph type="sldNum" sz="quarter" idx="12"/>
          </p:nvPr>
        </p:nvSpPr>
        <p:spPr/>
        <p:txBody>
          <a:bodyPr/>
          <a:lstStyle/>
          <a:p>
            <a:fld id="{F37BF810-22AD-4A4D-974D-244D2E60F88B}" type="slidenum">
              <a:rPr lang="en-US" smtClean="0"/>
              <a:t>‹#›</a:t>
            </a:fld>
            <a:endParaRPr lang="en-US" dirty="0"/>
          </a:p>
        </p:txBody>
      </p:sp>
      <p:graphicFrame>
        <p:nvGraphicFramePr>
          <p:cNvPr id="6" name="Object 5" hidden="1">
            <a:extLst>
              <a:ext uri="{FF2B5EF4-FFF2-40B4-BE49-F238E27FC236}">
                <a16:creationId xmlns:a16="http://schemas.microsoft.com/office/drawing/2014/main" id="{40B464D2-BCE2-1742-A81D-D11B49B982D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6" name="Object 5" hidden="1">
                        <a:extLst>
                          <a:ext uri="{FF2B5EF4-FFF2-40B4-BE49-F238E27FC236}">
                            <a16:creationId xmlns:a16="http://schemas.microsoft.com/office/drawing/2014/main" id="{40B464D2-BCE2-1742-A81D-D11B49B982D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0C30E40-8744-4D41-BD9D-03A4C33AD9D4}"/>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doc id" hidden="1">
            <a:extLst>
              <a:ext uri="{FF2B5EF4-FFF2-40B4-BE49-F238E27FC236}">
                <a16:creationId xmlns:a16="http://schemas.microsoft.com/office/drawing/2014/main" id="{D34BD1F0-4CB0-5047-B826-000C41509358}"/>
              </a:ext>
            </a:extLst>
          </p:cNvPr>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2914560377"/>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4741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p:txBody>
          <a:bodyPr vert="horz"/>
          <a:lstStyle>
            <a:lvl1pPr>
              <a:defRPr/>
            </a:lvl1pPr>
          </a:lstStyle>
          <a:p>
            <a:r>
              <a:rPr lang="en-US"/>
              <a:t>Click to add title</a:t>
            </a:r>
          </a:p>
        </p:txBody>
      </p:sp>
    </p:spTree>
    <p:extLst>
      <p:ext uri="{BB962C8B-B14F-4D97-AF65-F5344CB8AC3E}">
        <p14:creationId xmlns:p14="http://schemas.microsoft.com/office/powerpoint/2010/main" val="4014399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09AA7-781C-451C-8CFD-86C340CDA1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5238F9-C90E-451A-A11B-876DC74B23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E6EFE1-BA31-44D7-91BB-E265E2DF4E12}"/>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5" name="Footer Placeholder 4">
            <a:extLst>
              <a:ext uri="{FF2B5EF4-FFF2-40B4-BE49-F238E27FC236}">
                <a16:creationId xmlns:a16="http://schemas.microsoft.com/office/drawing/2014/main" id="{E32FD61F-654E-43B5-ABD5-B8F8115AC39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E198BED-CB65-4DA3-966B-5135EABC7CB5}"/>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21903620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269FC-8BD7-4325-94E0-B12D19915F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1CCBB1-E0F1-45BB-BE4D-673DC2C174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4D0B9-C431-4171-A8FC-40FF133347DD}"/>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5" name="Footer Placeholder 4">
            <a:extLst>
              <a:ext uri="{FF2B5EF4-FFF2-40B4-BE49-F238E27FC236}">
                <a16:creationId xmlns:a16="http://schemas.microsoft.com/office/drawing/2014/main" id="{D6EB698E-77DD-4B10-8CF5-C06094837FB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36AD22-D0A6-4FA8-9AE5-D622D9A88DE3}"/>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0015660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E30CC-46DB-47B3-809E-BE19D5D93D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E72A921-94CC-40D5-9E36-D35A85B25C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B84AAD-371D-447B-87C3-6627349A2ADD}"/>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5" name="Footer Placeholder 4">
            <a:extLst>
              <a:ext uri="{FF2B5EF4-FFF2-40B4-BE49-F238E27FC236}">
                <a16:creationId xmlns:a16="http://schemas.microsoft.com/office/drawing/2014/main" id="{B8227514-F09A-4ADD-9A76-CA5AF88A2A3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820F0B-C239-45FF-B0F8-D12EF811E0BB}"/>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1685879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8573F-EBBF-49D4-9065-31C615D672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77AC02-E307-4C87-B9DA-1E8DD783ED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0E05C5-2A71-4566-8AD5-4BBDA9C945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C755EDF-9AB9-4F30-94DD-ECD69A4EAAE0}"/>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6" name="Footer Placeholder 5">
            <a:extLst>
              <a:ext uri="{FF2B5EF4-FFF2-40B4-BE49-F238E27FC236}">
                <a16:creationId xmlns:a16="http://schemas.microsoft.com/office/drawing/2014/main" id="{5CD34C27-58D2-440C-A025-655984E3849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64A2C1F-0E1C-4904-BBEB-DF75DEF3B788}"/>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11911277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4CFE6-7540-4F3A-81C2-B7D77C3E72E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2B2BF4-11F9-463A-8F48-E11F2ED3C4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FBF445-4B09-4F26-A327-D41C1A23AC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E38BB31-DDAD-4306-B8A1-E24F2653D1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E1BFF98-A1DB-485B-86BC-82E6742B70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4E670EB-73DE-4B37-945E-AC1F0779EA5C}"/>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8" name="Footer Placeholder 7">
            <a:extLst>
              <a:ext uri="{FF2B5EF4-FFF2-40B4-BE49-F238E27FC236}">
                <a16:creationId xmlns:a16="http://schemas.microsoft.com/office/drawing/2014/main" id="{4AB82063-5964-4FCD-A6ED-CE6F05C1E22C}"/>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E621234-E8DB-4236-BE8C-9255CFB19E40}"/>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6086517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4812A-903C-4DA6-B21B-1FED0DB6DD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6C6989-C44A-4132-A811-DD6256CF3564}"/>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4" name="Footer Placeholder 3">
            <a:extLst>
              <a:ext uri="{FF2B5EF4-FFF2-40B4-BE49-F238E27FC236}">
                <a16:creationId xmlns:a16="http://schemas.microsoft.com/office/drawing/2014/main" id="{B0AC4D22-9BA9-4B59-B7B1-4BBAD5B1BB8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6BA2057-1D5B-4F9F-8AAC-A1AB5CCFE159}"/>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9364267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78E44A-A5D1-4909-BCC0-38C4D6101923}"/>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3" name="Footer Placeholder 2">
            <a:extLst>
              <a:ext uri="{FF2B5EF4-FFF2-40B4-BE49-F238E27FC236}">
                <a16:creationId xmlns:a16="http://schemas.microsoft.com/office/drawing/2014/main" id="{4ACA12F2-F37A-447F-9B09-70ADDE7DBBC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CAB7E7C-000C-442E-AC07-70F1E870A59D}"/>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2591281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325A52-F9F5-49A8-B334-5E1B8032C139}"/>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EC272AA3-9028-4DC3-BA67-2DC90F70D43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B088E19A-1AF1-45D9-B231-DBC3C73EFBC2}"/>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85865606-666D-4EBF-B15D-9DFE6B1449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BEB76E29-34D2-4581-9611-BF8499735B71}"/>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6ED56F0-B243-4270-83E1-66D3E357D7D9}"/>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FCE09B65-11BE-4398-9B93-EB83A697EA6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9F3A607-2754-4B4B-A244-0878F71DD505}"/>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904EB0B-1D99-44A0-9D1D-CA6659EEFA0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6672C9-FC8C-4F21-895A-4012EBB1B2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4BEDE614-BE19-476A-9DDE-D3A34E147E0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93B8053-3B62-41EC-A88C-FF34B6597A7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6A73CC4-2934-4143-A8D0-6F9796C9674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320ED28-6388-461C-BFA5-DE204470AF9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7662221-3269-4BD3-8881-3B9B97E82786}"/>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09D0F6F7-C8EA-4189-84F1-9F4CC4E42B9C}"/>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510A3529-8430-4616-861F-3382D56EE618}"/>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897A925-9287-4B17-8EBA-7AEF407AE29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4BFFFBF3-12FC-4C5C-97B4-6C356D2441B2}"/>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ADA212A-AEE4-4EFC-BD40-8C9A3A63D4E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0E1C911-8EBE-4600-89FC-58E0156DB3C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542619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0550B-DE7F-4BD3-80C4-6AE8B1A082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B1F380-2F43-488F-89E8-CBF3AD781C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EE01E0-CC33-49F7-B56E-E20D445DBF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6EE7DF-F115-4F1F-9C83-D550E6B5B473}"/>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6" name="Footer Placeholder 5">
            <a:extLst>
              <a:ext uri="{FF2B5EF4-FFF2-40B4-BE49-F238E27FC236}">
                <a16:creationId xmlns:a16="http://schemas.microsoft.com/office/drawing/2014/main" id="{24226D54-7874-4AB1-8148-C4E1674D859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4389DE-DF19-470F-8CD4-67EC2384A268}"/>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7770827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8BC37-03E6-49F1-815C-2C960AD354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2C59C5-7034-4259-AFAF-7851C317652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5DACEEA-AB9D-4F26-9298-DA053F4C73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8C34C7-0E81-4E4E-8E5F-25ECEF54FA61}"/>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6" name="Footer Placeholder 5">
            <a:extLst>
              <a:ext uri="{FF2B5EF4-FFF2-40B4-BE49-F238E27FC236}">
                <a16:creationId xmlns:a16="http://schemas.microsoft.com/office/drawing/2014/main" id="{8C1626A6-2EFD-4B59-92E7-38964E65945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2B85A1D-F844-4C9E-A9F0-0674534506D9}"/>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40560386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9418D-975E-4884-B4EE-6E64EC0E8AA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8CE142-16BE-4CBC-90DD-6D34FD69FE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6A37BD-6794-4CC0-93EF-22F572F762EF}"/>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5" name="Footer Placeholder 4">
            <a:extLst>
              <a:ext uri="{FF2B5EF4-FFF2-40B4-BE49-F238E27FC236}">
                <a16:creationId xmlns:a16="http://schemas.microsoft.com/office/drawing/2014/main" id="{D673D032-0A5D-41F6-8E74-7116D73053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54DF17-31E5-4BB9-8E3E-FE6F0AE5D18A}"/>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21515190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F5C8270-2ECA-4BBA-A782-7E723BB03C4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D82847B-153F-4F15-B174-E25641C0379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6CFD4B-E701-480F-BE47-47E0A319A72D}"/>
              </a:ext>
            </a:extLst>
          </p:cNvPr>
          <p:cNvSpPr>
            <a:spLocks noGrp="1"/>
          </p:cNvSpPr>
          <p:nvPr>
            <p:ph type="dt" sz="half" idx="10"/>
          </p:nvPr>
        </p:nvSpPr>
        <p:spPr/>
        <p:txBody>
          <a:bodyPr/>
          <a:lstStyle/>
          <a:p>
            <a:fld id="{038F9F41-062A-4F02-B617-2045BA1AF702}" type="datetimeFigureOut">
              <a:rPr lang="en-US" smtClean="0"/>
              <a:t>2/14/23</a:t>
            </a:fld>
            <a:endParaRPr lang="en-US" dirty="0"/>
          </a:p>
        </p:txBody>
      </p:sp>
      <p:sp>
        <p:nvSpPr>
          <p:cNvPr id="5" name="Footer Placeholder 4">
            <a:extLst>
              <a:ext uri="{FF2B5EF4-FFF2-40B4-BE49-F238E27FC236}">
                <a16:creationId xmlns:a16="http://schemas.microsoft.com/office/drawing/2014/main" id="{E76BF753-4990-4A02-80EA-1854663122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CC670E1-81B2-45EA-91C3-913700D1220D}"/>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34529216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F635F6-DB1A-4354-B2DB-25F973839776}"/>
              </a:ext>
            </a:extLst>
          </p:cNvPr>
          <p:cNvGraphicFramePr>
            <a:graphicFrameLocks noChangeAspect="1"/>
          </p:cNvGraphicFramePr>
          <p:nvPr userDrawn="1">
            <p:custDataLst>
              <p:tags r:id="rId1"/>
            </p:custDataLst>
            <p:extLst>
              <p:ext uri="{D42A27DB-BD31-4B8C-83A1-F6EECF244321}">
                <p14:modId xmlns:p14="http://schemas.microsoft.com/office/powerpoint/2010/main" val="188474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5" name="Object 4" hidden="1">
                        <a:extLst>
                          <a:ext uri="{FF2B5EF4-FFF2-40B4-BE49-F238E27FC236}">
                            <a16:creationId xmlns:a16="http://schemas.microsoft.com/office/drawing/2014/main" id="{EAF635F6-DB1A-4354-B2DB-25F9738397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FC729B4F-F462-4FDD-B20E-BD58CBBF5D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A3EEE62-EBB7-4181-8D0F-C77780C1E7D8}"/>
              </a:ext>
            </a:extLst>
          </p:cNvPr>
          <p:cNvSpPr>
            <a:spLocks noGrp="1"/>
          </p:cNvSpPr>
          <p:nvPr>
            <p:ph type="ctrTitle"/>
          </p:nvPr>
        </p:nvSpPr>
        <p:spPr>
          <a:xfrm>
            <a:off x="1524000" y="2507383"/>
            <a:ext cx="9144000" cy="1159982"/>
          </a:xfrm>
          <a:prstGeom prst="rect">
            <a:avLst/>
          </a:prstGeom>
        </p:spPr>
        <p:txBody>
          <a:bodyPr vert="horz" anchor="b"/>
          <a:lstStyle>
            <a:lvl1pPr algn="ctr">
              <a:defRPr sz="4800">
                <a:solidFill>
                  <a:schemeClr val="bg1"/>
                </a:solidFill>
                <a:latin typeface="+mj-lt"/>
                <a:ea typeface="+mj-ea"/>
                <a:cs typeface="+mj-cs"/>
              </a:defRPr>
            </a:lvl1pPr>
          </a:lstStyle>
          <a:p>
            <a:r>
              <a:rPr lang="en-US"/>
              <a:t>Click to edit Master title style</a:t>
            </a:r>
          </a:p>
        </p:txBody>
      </p:sp>
      <p:sp>
        <p:nvSpPr>
          <p:cNvPr id="3" name="Subtitle 2">
            <a:extLst>
              <a:ext uri="{FF2B5EF4-FFF2-40B4-BE49-F238E27FC236}">
                <a16:creationId xmlns:a16="http://schemas.microsoft.com/office/drawing/2014/main" id="{A6C248EE-14FE-4C7E-BEDB-0AC15A7EFF9F}"/>
              </a:ext>
            </a:extLst>
          </p:cNvPr>
          <p:cNvSpPr>
            <a:spLocks noGrp="1"/>
          </p:cNvSpPr>
          <p:nvPr>
            <p:ph type="subTitle" idx="1"/>
          </p:nvPr>
        </p:nvSpPr>
        <p:spPr>
          <a:xfrm>
            <a:off x="1524000" y="3895966"/>
            <a:ext cx="9144000" cy="710507"/>
          </a:xfrm>
        </p:spPr>
        <p:txBody>
          <a:bodyPr/>
          <a:lstStyle>
            <a:lvl1pPr marL="0" indent="0" algn="ctr">
              <a:buNone/>
              <a:defRPr sz="24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87ED6345-8783-4208-8215-2D477635248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1981" y="356205"/>
            <a:ext cx="4110730" cy="1403881"/>
          </a:xfrm>
          <a:prstGeom prst="rect">
            <a:avLst/>
          </a:prstGeom>
        </p:spPr>
      </p:pic>
      <p:cxnSp>
        <p:nvCxnSpPr>
          <p:cNvPr id="10" name="Straight Connector 9">
            <a:extLst>
              <a:ext uri="{FF2B5EF4-FFF2-40B4-BE49-F238E27FC236}">
                <a16:creationId xmlns:a16="http://schemas.microsoft.com/office/drawing/2014/main" id="{13ECABE3-0F4B-4EC0-80CB-7508FC6DD3E2}"/>
              </a:ext>
            </a:extLst>
          </p:cNvPr>
          <p:cNvCxnSpPr/>
          <p:nvPr userDrawn="1"/>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3029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7087EF6-8C5A-497A-A3E9-212135DD1191}"/>
              </a:ext>
            </a:extLst>
          </p:cNvPr>
          <p:cNvGraphicFramePr>
            <a:graphicFrameLocks noChangeAspect="1"/>
          </p:cNvGraphicFramePr>
          <p:nvPr userDrawn="1">
            <p:custDataLst>
              <p:tags r:id="rId1"/>
            </p:custDataLst>
            <p:extLst>
              <p:ext uri="{D42A27DB-BD31-4B8C-83A1-F6EECF244321}">
                <p14:modId xmlns:p14="http://schemas.microsoft.com/office/powerpoint/2010/main" val="1473047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11" name="Object 10" hidden="1">
                        <a:extLst>
                          <a:ext uri="{FF2B5EF4-FFF2-40B4-BE49-F238E27FC236}">
                            <a16:creationId xmlns:a16="http://schemas.microsoft.com/office/drawing/2014/main" id="{B7087EF6-8C5A-497A-A3E9-212135DD1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mn-lt"/>
              <a:ea typeface="+mn-ea"/>
              <a:cs typeface="+mn-cs"/>
            </a:endParaRP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lvl1pPr>
              <a:defRPr>
                <a:latin typeface="+mn-lt"/>
              </a:defRPr>
            </a:lvl1pPr>
          </a:lstStyle>
          <a:p>
            <a:fld id="{F538A9E0-E3F6-4E54-A054-7FE66453E097}" type="slidenum">
              <a:rPr lang="en-US" smtClean="0"/>
              <a:pPr/>
              <a:t>‹#›</a:t>
            </a:fld>
            <a:endParaRPr lang="en-US" dirty="0"/>
          </a:p>
        </p:txBody>
      </p:sp>
      <p:sp>
        <p:nvSpPr>
          <p:cNvPr id="9" name="Title 1">
            <a:extLst>
              <a:ext uri="{FF2B5EF4-FFF2-40B4-BE49-F238E27FC236}">
                <a16:creationId xmlns:a16="http://schemas.microsoft.com/office/drawing/2014/main" id="{79516E40-5968-4CBF-BB77-6AF7CFE6C70E}"/>
              </a:ext>
            </a:extLst>
          </p:cNvPr>
          <p:cNvSpPr>
            <a:spLocks noGrp="1"/>
          </p:cNvSpPr>
          <p:nvPr>
            <p:ph type="title"/>
          </p:nvPr>
        </p:nvSpPr>
        <p:spPr>
          <a:xfrm>
            <a:off x="838200" y="365126"/>
            <a:ext cx="10515600" cy="740468"/>
          </a:xfrm>
          <a:prstGeom prst="rect">
            <a:avLst/>
          </a:prstGeom>
        </p:spPr>
        <p:txBody>
          <a:bodyPr vert="horz">
            <a:normAutofit/>
          </a:bodyPr>
          <a:lstStyle>
            <a:lvl1pPr algn="ctr">
              <a:defRPr sz="2800">
                <a:solidFill>
                  <a:schemeClr val="bg1"/>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4717445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7087EF6-8C5A-497A-A3E9-212135DD1191}"/>
              </a:ext>
            </a:extLst>
          </p:cNvPr>
          <p:cNvGraphicFramePr>
            <a:graphicFrameLocks noChangeAspect="1"/>
          </p:cNvGraphicFramePr>
          <p:nvPr userDrawn="1">
            <p:custDataLst>
              <p:tags r:id="rId1"/>
            </p:custDataLst>
            <p:extLst>
              <p:ext uri="{D42A27DB-BD31-4B8C-83A1-F6EECF244321}">
                <p14:modId xmlns:p14="http://schemas.microsoft.com/office/powerpoint/2010/main" val="77659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11" name="Object 10" hidden="1">
                        <a:extLst>
                          <a:ext uri="{FF2B5EF4-FFF2-40B4-BE49-F238E27FC236}">
                            <a16:creationId xmlns:a16="http://schemas.microsoft.com/office/drawing/2014/main" id="{B7087EF6-8C5A-497A-A3E9-212135DD1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mn-lt"/>
              <a:ea typeface="+mn-ea"/>
              <a:cs typeface="+mn-cs"/>
            </a:endParaRP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lvl1pPr>
              <a:defRPr>
                <a:latin typeface="+mn-lt"/>
              </a:defRPr>
            </a:lvl1pPr>
          </a:lstStyle>
          <a:p>
            <a:fld id="{F538A9E0-E3F6-4E54-A054-7FE66453E097}" type="slidenum">
              <a:rPr lang="en-US" smtClean="0"/>
              <a:pPr/>
              <a:t>‹#›</a:t>
            </a:fld>
            <a:endParaRPr lang="en-US" dirty="0"/>
          </a:p>
        </p:txBody>
      </p:sp>
      <p:sp>
        <p:nvSpPr>
          <p:cNvPr id="9" name="Title 1">
            <a:extLst>
              <a:ext uri="{FF2B5EF4-FFF2-40B4-BE49-F238E27FC236}">
                <a16:creationId xmlns:a16="http://schemas.microsoft.com/office/drawing/2014/main" id="{79516E40-5968-4CBF-BB77-6AF7CFE6C70E}"/>
              </a:ext>
            </a:extLst>
          </p:cNvPr>
          <p:cNvSpPr>
            <a:spLocks noGrp="1"/>
          </p:cNvSpPr>
          <p:nvPr>
            <p:ph type="title"/>
          </p:nvPr>
        </p:nvSpPr>
        <p:spPr>
          <a:xfrm>
            <a:off x="838200" y="365126"/>
            <a:ext cx="10515600" cy="740468"/>
          </a:xfrm>
          <a:prstGeom prst="rect">
            <a:avLst/>
          </a:prstGeom>
        </p:spPr>
        <p:txBody>
          <a:bodyPr vert="horz">
            <a:normAutofit/>
          </a:bodyPr>
          <a:lstStyle>
            <a:lvl1pPr algn="ctr">
              <a:defRPr sz="2800">
                <a:solidFill>
                  <a:schemeClr val="bg1"/>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86888662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F55CB5-20DB-4541-88BD-D684EC841599}"/>
              </a:ext>
            </a:extLst>
          </p:cNvPr>
          <p:cNvGraphicFramePr>
            <a:graphicFrameLocks noChangeAspect="1"/>
          </p:cNvGraphicFramePr>
          <p:nvPr userDrawn="1">
            <p:custDataLst>
              <p:tags r:id="rId1"/>
            </p:custDataLst>
            <p:extLst>
              <p:ext uri="{D42A27DB-BD31-4B8C-83A1-F6EECF244321}">
                <p14:modId xmlns:p14="http://schemas.microsoft.com/office/powerpoint/2010/main" val="33035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6" name="Object 5" hidden="1">
                        <a:extLst>
                          <a:ext uri="{FF2B5EF4-FFF2-40B4-BE49-F238E27FC236}">
                            <a16:creationId xmlns:a16="http://schemas.microsoft.com/office/drawing/2014/main" id="{F4F55CB5-20DB-4541-88BD-D684EC8415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3F5A88EF-2119-4F1C-91F5-85A89D53EDCD}"/>
              </a:ext>
            </a:extLst>
          </p:cNvPr>
          <p:cNvSpPr txBox="1">
            <a:spLocks/>
          </p:cNvSpPr>
          <p:nvPr userDrawn="1"/>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mn-lt"/>
              <a:ea typeface="+mn-ea"/>
              <a:cs typeface="+mn-cs"/>
            </a:endParaRPr>
          </a:p>
        </p:txBody>
      </p:sp>
      <p:sp>
        <p:nvSpPr>
          <p:cNvPr id="2" name="Title 1">
            <a:extLst>
              <a:ext uri="{FF2B5EF4-FFF2-40B4-BE49-F238E27FC236}">
                <a16:creationId xmlns:a16="http://schemas.microsoft.com/office/drawing/2014/main" id="{CCA16824-BE4D-4921-974B-7F9AF6B1CB55}"/>
              </a:ext>
            </a:extLst>
          </p:cNvPr>
          <p:cNvSpPr>
            <a:spLocks noGrp="1"/>
          </p:cNvSpPr>
          <p:nvPr>
            <p:ph type="title"/>
          </p:nvPr>
        </p:nvSpPr>
        <p:spPr>
          <a:xfrm>
            <a:off x="838200" y="365126"/>
            <a:ext cx="10515600" cy="740468"/>
          </a:xfrm>
          <a:prstGeom prst="rect">
            <a:avLst/>
          </a:prstGeom>
        </p:spPr>
        <p:txBody>
          <a:bodyPr vert="horz">
            <a:normAutofit/>
          </a:bodyPr>
          <a:lstStyle>
            <a:lvl1pPr algn="ctr">
              <a:defRPr sz="2800">
                <a:solidFill>
                  <a:schemeClr val="bg1"/>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0E2BEA73-AC1A-4CA0-B17D-1F77448AD3E9}"/>
              </a:ext>
            </a:extLst>
          </p:cNvPr>
          <p:cNvSpPr>
            <a:spLocks noGrp="1"/>
          </p:cNvSpPr>
          <p:nvPr>
            <p:ph sz="half" idx="1"/>
          </p:nvPr>
        </p:nvSpPr>
        <p:spPr>
          <a:xfrm>
            <a:off x="838200" y="1825625"/>
            <a:ext cx="5181600" cy="4351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7C1358-60BA-4AD9-AC74-341BEBE56677}"/>
              </a:ext>
            </a:extLst>
          </p:cNvPr>
          <p:cNvSpPr>
            <a:spLocks noGrp="1"/>
          </p:cNvSpPr>
          <p:nvPr>
            <p:ph sz="half" idx="2"/>
          </p:nvPr>
        </p:nvSpPr>
        <p:spPr>
          <a:xfrm>
            <a:off x="6172200" y="1825625"/>
            <a:ext cx="5181600" cy="4351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163E2F-5EB2-4D68-80F0-6E6B8E967975}"/>
              </a:ext>
            </a:extLst>
          </p:cNvPr>
          <p:cNvSpPr>
            <a:spLocks noGrp="1"/>
          </p:cNvSpPr>
          <p:nvPr>
            <p:ph type="sldNum" sz="quarter" idx="12"/>
          </p:nvPr>
        </p:nvSpPr>
        <p:spPr/>
        <p:txBody>
          <a:bodyPr/>
          <a:lstStyle>
            <a:lvl1pPr>
              <a:defRPr>
                <a:latin typeface="+mn-lt"/>
              </a:defRPr>
            </a:lvl1pPr>
          </a:lstStyle>
          <a:p>
            <a:fld id="{F538A9E0-E3F6-4E54-A054-7FE66453E097}" type="slidenum">
              <a:rPr lang="en-US" smtClean="0"/>
              <a:pPr/>
              <a:t>‹#›</a:t>
            </a:fld>
            <a:endParaRPr lang="en-US" dirty="0"/>
          </a:p>
        </p:txBody>
      </p:sp>
    </p:spTree>
    <p:extLst>
      <p:ext uri="{BB962C8B-B14F-4D97-AF65-F5344CB8AC3E}">
        <p14:creationId xmlns:p14="http://schemas.microsoft.com/office/powerpoint/2010/main" val="74123554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1A694A-03D4-464F-B433-B93F657E0BDC}"/>
              </a:ext>
            </a:extLst>
          </p:cNvPr>
          <p:cNvGraphicFramePr>
            <a:graphicFrameLocks noChangeAspect="1"/>
          </p:cNvGraphicFramePr>
          <p:nvPr userDrawn="1">
            <p:custDataLst>
              <p:tags r:id="rId1"/>
            </p:custDataLst>
            <p:extLst>
              <p:ext uri="{D42A27DB-BD31-4B8C-83A1-F6EECF244321}">
                <p14:modId xmlns:p14="http://schemas.microsoft.com/office/powerpoint/2010/main" val="4221572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2" name="Object 1" hidden="1">
                        <a:extLst>
                          <a:ext uri="{FF2B5EF4-FFF2-40B4-BE49-F238E27FC236}">
                            <a16:creationId xmlns:a16="http://schemas.microsoft.com/office/drawing/2014/main" id="{391A694A-03D4-464F-B433-B93F657E0B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7BCB7CC-33A2-4955-A86A-BE13BA07A873}"/>
              </a:ext>
            </a:extLst>
          </p:cNvPr>
          <p:cNvSpPr>
            <a:spLocks noGrp="1"/>
          </p:cNvSpPr>
          <p:nvPr>
            <p:ph type="sldNum" sz="quarter" idx="12"/>
          </p:nvPr>
        </p:nvSpPr>
        <p:spPr/>
        <p:txBody>
          <a:bodyPr/>
          <a:lstStyle>
            <a:lvl1pPr>
              <a:defRPr>
                <a:latin typeface="+mn-lt"/>
              </a:defRPr>
            </a:lvl1pPr>
          </a:lstStyle>
          <a:p>
            <a:fld id="{F538A9E0-E3F6-4E54-A054-7FE66453E097}" type="slidenum">
              <a:rPr lang="en-US" smtClean="0"/>
              <a:pPr/>
              <a:t>‹#›</a:t>
            </a:fld>
            <a:endParaRPr lang="en-US" dirty="0"/>
          </a:p>
        </p:txBody>
      </p:sp>
    </p:spTree>
    <p:extLst>
      <p:ext uri="{BB962C8B-B14F-4D97-AF65-F5344CB8AC3E}">
        <p14:creationId xmlns:p14="http://schemas.microsoft.com/office/powerpoint/2010/main" val="35608456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0B0FA7-9E75-4D5B-9E8E-3E1813D6CAD4}"/>
              </a:ext>
            </a:extLst>
          </p:cNvPr>
          <p:cNvGraphicFramePr>
            <a:graphicFrameLocks noChangeAspect="1"/>
          </p:cNvGraphicFramePr>
          <p:nvPr userDrawn="1">
            <p:custDataLst>
              <p:tags r:id="rId1"/>
            </p:custDataLst>
            <p:extLst>
              <p:ext uri="{D42A27DB-BD31-4B8C-83A1-F6EECF244321}">
                <p14:modId xmlns:p14="http://schemas.microsoft.com/office/powerpoint/2010/main" val="282878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3" name="Object 2" hidden="1">
                        <a:extLst>
                          <a:ext uri="{FF2B5EF4-FFF2-40B4-BE49-F238E27FC236}">
                            <a16:creationId xmlns:a16="http://schemas.microsoft.com/office/drawing/2014/main" id="{9B0B0FA7-9E75-4D5B-9E8E-3E1813D6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38C3ABD-3964-49D0-9EAB-D15A036F4A5D}"/>
              </a:ext>
            </a:extLst>
          </p:cNvPr>
          <p:cNvPicPr>
            <a:picLocks noChangeAspect="1"/>
          </p:cNvPicPr>
          <p:nvPr userDrawn="1"/>
        </p:nvPicPr>
        <p:blipFill>
          <a:blip r:embed="rId5"/>
          <a:stretch>
            <a:fillRect/>
          </a:stretch>
        </p:blipFill>
        <p:spPr>
          <a:xfrm>
            <a:off x="0" y="-1"/>
            <a:ext cx="12192000" cy="6858001"/>
          </a:xfrm>
          <a:prstGeom prst="rect">
            <a:avLst/>
          </a:prstGeom>
        </p:spPr>
      </p:pic>
    </p:spTree>
    <p:extLst>
      <p:ext uri="{BB962C8B-B14F-4D97-AF65-F5344CB8AC3E}">
        <p14:creationId xmlns:p14="http://schemas.microsoft.com/office/powerpoint/2010/main" val="41924025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0ACAA81B-90A7-4A49-AA37-873F677635FE}"/>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174E6DAF-6B06-4807-9213-33C908E719B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1C2EBD83-A1FD-4292-BE32-3A03B5B5FE48}"/>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019B946-4640-4E1B-8B70-A31DD6C8948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56709DA-61AF-4FDE-9038-0DE9C323F66E}"/>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AFE3DE-7087-49F1-99C8-C7B91F98B282}"/>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5A07855-3A58-4E23-8B51-744DF88A3603}"/>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22DC008-4B7D-481A-A09E-C0C890D9D95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4C9222C-7BED-4E1E-81E9-4AA0F56938E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09B1EB7-7372-4577-96F1-70D96FDDEC8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E3A20C1-5E1F-4A58-A027-0A85344074E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89E1BEA-8364-4113-9C09-036666D3F632}"/>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742BD27-8450-4BCC-964F-D796E268D4B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F167EBF9-04E0-46E3-850C-835005D9295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305AED6-070B-4B65-B012-928A80FC553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FFA3DCA-F213-410B-9526-285D8745DD0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246AC750-0488-4E17-83A0-C862149D0DE7}"/>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8ECA2D96-980A-48F5-87E1-332D01C648F0}"/>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05C4CF1B-096F-422F-AD33-F5C37C5307F4}"/>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E6CE48F3-8F62-434B-A0CC-F13339B53F3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40DE9E-41E0-4056-B73E-E8D3F768DC71}"/>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397599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958533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1690"/>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78310"/>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35744389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195578835"/>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702062F0-2474-47FE-AFCB-7DB2E5F8BB51}"/>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6038A781-6E11-45C8-8F58-D84B7893253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2199006-044B-4548-9CD9-44F42D3253EE}"/>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410F83D-0D67-41A0-B3BB-C4686D9AC7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45BAAAE-D0E4-4C47-B92E-801D86EB8B6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642DD567-848C-4786-8D17-94B411F03F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37E1297E-138D-45FD-91EF-29224459821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8A4BA17-8BFC-4E10-A138-4B4240045A5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6C956AA-9C84-4E4B-AD85-08C7F05FA55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95EAC5C-7C47-427D-824A-A1B4336E290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6027068-9B6E-4E6B-BC23-4C10FFAFA52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6C5C74E-3E79-4FAB-B1D6-F51B62AB420D}"/>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2B47949-9B55-4909-BF03-74103C98D72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B4092786-E365-4B09-97A2-DDC9A64A5352}"/>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98E1C81-B619-4DE7-95E9-86D64379E89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DB8779E-859F-4E50-A168-FF4D80ED5FE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733822F2-44DC-4698-9C03-07710DC42373}"/>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B1A205C-1C48-4943-B750-021494D37D5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8B36F7B2-8C52-4C24-9CC4-07C0A26920A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A7F7B88B-7DF2-4980-9CF5-6049F30EBF8C}"/>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951F8FF-ED5A-4EB7-BBA5-5C3273F2BA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821451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9F98B04B-0152-4879-8A69-2353A1191B43}"/>
              </a:ext>
            </a:extLst>
          </p:cNvPr>
          <p:cNvGrpSpPr/>
          <p:nvPr userDrawn="1"/>
        </p:nvGrpSpPr>
        <p:grpSpPr>
          <a:xfrm>
            <a:off x="9318251" y="6528816"/>
            <a:ext cx="2033975" cy="256591"/>
            <a:chOff x="9596444" y="6528816"/>
            <a:chExt cx="2033975" cy="256591"/>
          </a:xfrm>
        </p:grpSpPr>
        <p:sp>
          <p:nvSpPr>
            <p:cNvPr id="25" name="Freeform: Shape 24">
              <a:extLst>
                <a:ext uri="{FF2B5EF4-FFF2-40B4-BE49-F238E27FC236}">
                  <a16:creationId xmlns:a16="http://schemas.microsoft.com/office/drawing/2014/main" id="{552CCDF8-63E1-45BF-9D88-4C40F2B263F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6" name="Group 25">
              <a:extLst>
                <a:ext uri="{FF2B5EF4-FFF2-40B4-BE49-F238E27FC236}">
                  <a16:creationId xmlns:a16="http://schemas.microsoft.com/office/drawing/2014/main" id="{99271246-D64B-4358-8398-C63EAC61F75E}"/>
                </a:ext>
              </a:extLst>
            </p:cNvPr>
            <p:cNvGrpSpPr/>
            <p:nvPr userDrawn="1"/>
          </p:nvGrpSpPr>
          <p:grpSpPr>
            <a:xfrm>
              <a:off x="10651738" y="6635448"/>
              <a:ext cx="978681" cy="68285"/>
              <a:chOff x="10651738" y="6635448"/>
              <a:chExt cx="978681" cy="68285"/>
            </a:xfrm>
            <a:solidFill>
              <a:schemeClr val="tx1"/>
            </a:solidFill>
          </p:grpSpPr>
          <p:sp>
            <p:nvSpPr>
              <p:cNvPr id="31" name="Freeform: Shape 30">
                <a:extLst>
                  <a:ext uri="{FF2B5EF4-FFF2-40B4-BE49-F238E27FC236}">
                    <a16:creationId xmlns:a16="http://schemas.microsoft.com/office/drawing/2014/main" id="{EF1F8AAC-04D6-4029-82A9-2C2D31BCFBFE}"/>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890676B-8A42-4FF8-B0B0-B013DA7CE06A}"/>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16FBEDF-6BE3-43E8-8FF0-368760DEF077}"/>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DC0F9DD-8A72-4F43-92FF-077311C107D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695F5EF-AB72-4273-A7AF-46B55B77A15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9D9D6B4-051A-4C76-8488-3230D80B6F4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210D327-6484-475B-ACE8-223B30591A2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0228F55-9027-4BE3-A4E4-EC7FCB734E8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3E77D07-7C87-4F7A-9F4F-7C501FE5540A}"/>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2E13801-8ABF-4230-ADB5-E8C69972C88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EB4BC7F-EF9C-42A3-8F6A-878653022BA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FD907A7-56A2-49BA-BD33-DB2D443537A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EFCB608-F37C-44D4-9297-8D228670318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DD430FED-C35D-4215-A831-E49674F79866}"/>
                </a:ext>
              </a:extLst>
            </p:cNvPr>
            <p:cNvGrpSpPr/>
            <p:nvPr userDrawn="1"/>
          </p:nvGrpSpPr>
          <p:grpSpPr>
            <a:xfrm>
              <a:off x="9596444" y="6528816"/>
              <a:ext cx="978690" cy="218599"/>
              <a:chOff x="9596444" y="6528816"/>
              <a:chExt cx="978690" cy="218599"/>
            </a:xfrm>
          </p:grpSpPr>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C9F4E7E1-525A-4F4B-BEBF-41C72E078B0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5FE4C96A-F737-4E80-96D4-98B40EE4066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E2005FDF-037D-487A-A3E0-A9224133ED63}"/>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4" name="Slide Number">
            <a:extLst>
              <a:ext uri="{FF2B5EF4-FFF2-40B4-BE49-F238E27FC236}">
                <a16:creationId xmlns:a16="http://schemas.microsoft.com/office/drawing/2014/main" id="{C9EEF503-7B97-4C15-A6A0-4B3DD1E642DA}"/>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16341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487959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EDCB1688-880B-44E6-8532-22D4FA32778D}"/>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6" name="Group 25">
            <a:extLst>
              <a:ext uri="{FF2B5EF4-FFF2-40B4-BE49-F238E27FC236}">
                <a16:creationId xmlns:a16="http://schemas.microsoft.com/office/drawing/2014/main" id="{367C718F-B6FC-4F32-A687-E6345369BF48}"/>
              </a:ext>
            </a:extLst>
          </p:cNvPr>
          <p:cNvGrpSpPr/>
          <p:nvPr userDrawn="1"/>
        </p:nvGrpSpPr>
        <p:grpSpPr>
          <a:xfrm>
            <a:off x="9318251" y="6528816"/>
            <a:ext cx="2033975" cy="256591"/>
            <a:chOff x="9596444" y="6528816"/>
            <a:chExt cx="2033975" cy="256591"/>
          </a:xfrm>
        </p:grpSpPr>
        <p:grpSp>
          <p:nvGrpSpPr>
            <p:cNvPr id="27" name="Group 26">
              <a:extLst>
                <a:ext uri="{FF2B5EF4-FFF2-40B4-BE49-F238E27FC236}">
                  <a16:creationId xmlns:a16="http://schemas.microsoft.com/office/drawing/2014/main" id="{20D85453-3475-47CD-BA49-9BAF7B54FD8D}"/>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C002211B-6254-4B48-85B8-915BBDBEF2B8}"/>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E0E980E5-9629-4B99-82C2-063791A7FEE6}"/>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88531A5-70FC-4E31-97BC-81F1100F470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649D9D58-2D0A-4C94-8097-09A3B606F043}"/>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703547EE-6B23-4900-A907-02FF77FBF2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DD82EC54-A6E1-4012-A726-EFA474F867D8}"/>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BEAB689-2287-43AD-8B55-3EBEC14E75D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733F500-C94C-4049-AB0A-580327ADDC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CB0714E1-36E0-453E-8138-776AE641A09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C8D694D-8BF1-4CAD-AF33-FE5C69136DA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4E35D0F-847A-4A08-A158-584FC4ECCD1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754A57D-06F0-4B99-91F5-FDD3A79EDB2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D93099B-6CBA-497E-865E-960086F4B21C}"/>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E1A6EBE-B107-4F1E-A20D-3D3E13D891AE}"/>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27C0880C-4B8C-4B2A-8176-21CBAA805705}"/>
                </a:ext>
              </a:extLst>
            </p:cNvPr>
            <p:cNvPicPr>
              <a:picLocks noChangeAspect="1" noChangeArrowheads="1"/>
            </p:cNvPicPr>
            <p:nvPr userDrawn="1"/>
          </p:nvPicPr>
          <p:blipFill rotWithShape="1">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3CAD8EF4-73AA-484C-80B7-10C6455E0A6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9A1B76F2-1580-4C26-8214-59733C9D105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5" name="Slide Number">
            <a:extLst>
              <a:ext uri="{FF2B5EF4-FFF2-40B4-BE49-F238E27FC236}">
                <a16:creationId xmlns:a16="http://schemas.microsoft.com/office/drawing/2014/main" id="{5B42C0FF-3D21-4746-99D6-4E4EF88BDCB1}"/>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005533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89EE01A-1C15-4DF9-A3EC-82610720CEA0}"/>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50028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3" name="Group 52">
            <a:extLst>
              <a:ext uri="{FF2B5EF4-FFF2-40B4-BE49-F238E27FC236}">
                <a16:creationId xmlns:a16="http://schemas.microsoft.com/office/drawing/2014/main" id="{C52640D5-C2A7-4D5A-82E3-7F2081D2264A}"/>
              </a:ext>
            </a:extLst>
          </p:cNvPr>
          <p:cNvGrpSpPr/>
          <p:nvPr userDrawn="1"/>
        </p:nvGrpSpPr>
        <p:grpSpPr>
          <a:xfrm>
            <a:off x="3302368" y="3076576"/>
            <a:ext cx="5587266" cy="704850"/>
            <a:chOff x="3302368" y="3076576"/>
            <a:chExt cx="5587266" cy="704850"/>
          </a:xfrm>
        </p:grpSpPr>
        <p:sp>
          <p:nvSpPr>
            <p:cNvPr id="14" name="Freeform: Shape 13">
              <a:extLst>
                <a:ext uri="{FF2B5EF4-FFF2-40B4-BE49-F238E27FC236}">
                  <a16:creationId xmlns:a16="http://schemas.microsoft.com/office/drawing/2014/main" id="{DE52504B-ED5A-4ABC-906C-C5D956CD9F25}"/>
                </a:ext>
              </a:extLst>
            </p:cNvPr>
            <p:cNvSpPr/>
            <p:nvPr/>
          </p:nvSpPr>
          <p:spPr bwMode="ltGray">
            <a:xfrm>
              <a:off x="6728190" y="3162606"/>
              <a:ext cx="813666" cy="618820"/>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15" name="Group 14">
              <a:extLst>
                <a:ext uri="{FF2B5EF4-FFF2-40B4-BE49-F238E27FC236}">
                  <a16:creationId xmlns:a16="http://schemas.microsoft.com/office/drawing/2014/main" id="{98641A9D-4DC7-4792-8A7F-A70CFD2B5B6C}"/>
                </a:ext>
              </a:extLst>
            </p:cNvPr>
            <p:cNvGrpSpPr/>
            <p:nvPr userDrawn="1"/>
          </p:nvGrpSpPr>
          <p:grpSpPr>
            <a:xfrm>
              <a:off x="6201228" y="3369492"/>
              <a:ext cx="2688406" cy="187577"/>
              <a:chOff x="10651738" y="6635448"/>
              <a:chExt cx="978681" cy="68285"/>
            </a:xfrm>
            <a:solidFill>
              <a:schemeClr val="tx1"/>
            </a:solidFill>
          </p:grpSpPr>
          <p:sp>
            <p:nvSpPr>
              <p:cNvPr id="20" name="Freeform: Shape 19">
                <a:extLst>
                  <a:ext uri="{FF2B5EF4-FFF2-40B4-BE49-F238E27FC236}">
                    <a16:creationId xmlns:a16="http://schemas.microsoft.com/office/drawing/2014/main" id="{C6F02C6B-D586-4E1F-A319-33FB070C2D6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D7D25B7-6398-4BCD-AAB5-76B3A9DEE9D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52F243-63BC-4A1E-8094-0208EC7EEA98}"/>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0565766-BFA1-4C11-B6C2-E4E50492C60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11E93A0F-9FF1-4C8C-8C01-D8AAF296F9C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E41DFE5-AABA-47B9-9D0A-E6FC4CE3D5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095C75E-C985-4EBE-8183-B749FBEDA5B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99C64CA0-33C8-4B9B-B80E-2B795888339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A4C7BBF-C137-4D57-BB22-36168F2FF07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EBC8D6C-904B-4952-B99F-AC3984C966B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23F6A3-2BF6-4F5B-9594-E5F78E727EB3}"/>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4492F39-8B60-483B-BCE2-CA916B186F1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1DE0FDC-988E-40C2-AA73-EAF3AE866E9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pic>
          <p:nvPicPr>
            <p:cNvPr id="18" name="Picture 17" descr="Michigan among top 10 pro-business states, named most improved state in  CNBC rankings | Economic development, Pure michigan, Michigan">
              <a:extLst>
                <a:ext uri="{FF2B5EF4-FFF2-40B4-BE49-F238E27FC236}">
                  <a16:creationId xmlns:a16="http://schemas.microsoft.com/office/drawing/2014/main" id="{DAEC263C-8BE3-4277-A4E7-52F1BA0071F4}"/>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50755" r="52979" b="40362"/>
            <a:stretch/>
          </p:blipFill>
          <p:spPr bwMode="ltGray">
            <a:xfrm>
              <a:off x="3302368" y="3492062"/>
              <a:ext cx="2629687" cy="185001"/>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descr="Michigan among top 10 pro-business states, named most improved state in  CNBC rankings | Economic development, Pure michigan, Michigan">
              <a:extLst>
                <a:ext uri="{FF2B5EF4-FFF2-40B4-BE49-F238E27FC236}">
                  <a16:creationId xmlns:a16="http://schemas.microsoft.com/office/drawing/2014/main" id="{34FA4C92-F722-46F2-AE34-F462A4B88043}"/>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30807" r="52037" b="49245"/>
            <a:stretch/>
          </p:blipFill>
          <p:spPr bwMode="ltGray">
            <a:xfrm>
              <a:off x="3302368" y="3076576"/>
              <a:ext cx="2688431" cy="415486"/>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Michigan among top 10 pro-business states, named most improved state in  CNBC rankings | Economic development, Pure michigan, Michigan">
              <a:extLst>
                <a:ext uri="{FF2B5EF4-FFF2-40B4-BE49-F238E27FC236}">
                  <a16:creationId xmlns:a16="http://schemas.microsoft.com/office/drawing/2014/main" id="{2AD44453-2870-46B9-9F93-64A4EAC378DD}"/>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7963" t="34937" r="48877" b="36416"/>
            <a:stretch/>
          </p:blipFill>
          <p:spPr bwMode="ltGray">
            <a:xfrm>
              <a:off x="5990796" y="3162606"/>
              <a:ext cx="196831" cy="596666"/>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91659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E7D88E3-6983-4AB0-9A51-6DA9B91858D2}"/>
              </a:ext>
            </a:extLst>
          </p:cNvPr>
          <p:cNvSpPr>
            <a:spLocks noGrp="1"/>
          </p:cNvSpPr>
          <p:nvPr>
            <p:ph type="title" hasCustomPrompt="1"/>
          </p:nvPr>
        </p:nvSpPr>
        <p:spPr>
          <a:xfrm>
            <a:off x="838200" y="-5811"/>
            <a:ext cx="10515600" cy="1373696"/>
          </a:xfrm>
        </p:spPr>
        <p:txBody>
          <a:bodyPr anchor="ctr">
            <a:noAutofit/>
          </a:bodyPr>
          <a:lstStyle>
            <a:lvl1pPr algn="ctr">
              <a:defRPr sz="2800">
                <a:solidFill>
                  <a:schemeClr val="bg1"/>
                </a:solidFill>
                <a:latin typeface="Arial Black" panose="020B0A040201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2325119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11567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A5E2D383-6BD7-4E47-AEAB-BF8D485A2A7F}"/>
              </a:ext>
            </a:extLst>
          </p:cNvPr>
          <p:cNvGrpSpPr/>
          <p:nvPr userDrawn="1"/>
        </p:nvGrpSpPr>
        <p:grpSpPr bwMode="ltGray">
          <a:xfrm>
            <a:off x="0" y="0"/>
            <a:ext cx="12192000" cy="6858000"/>
            <a:chOff x="0" y="0"/>
            <a:chExt cx="12192000" cy="6858000"/>
          </a:xfrm>
        </p:grpSpPr>
        <p:pic>
          <p:nvPicPr>
            <p:cNvPr id="9" name="Picture 8" descr="Front-slide.jpg">
              <a:extLst>
                <a:ext uri="{FF2B5EF4-FFF2-40B4-BE49-F238E27FC236}">
                  <a16:creationId xmlns:a16="http://schemas.microsoft.com/office/drawing/2014/main" id="{FC30A1D8-8696-456A-8FD3-9F8331321B13}"/>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bwMode="ltGray">
            <a:xfrm>
              <a:off x="0" y="0"/>
              <a:ext cx="12192000" cy="5442613"/>
            </a:xfrm>
            <a:prstGeom prst="rect">
              <a:avLst/>
            </a:prstGeom>
          </p:spPr>
        </p:pic>
        <p:pic>
          <p:nvPicPr>
            <p:cNvPr id="10" name="Picture 9" descr="Front-slide.jpg">
              <a:extLst>
                <a:ext uri="{FF2B5EF4-FFF2-40B4-BE49-F238E27FC236}">
                  <a16:creationId xmlns:a16="http://schemas.microsoft.com/office/drawing/2014/main" id="{99CC370B-6E36-4605-A9B8-1C13046721E1}"/>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bwMode="ltGray">
            <a:xfrm>
              <a:off x="0" y="5350538"/>
              <a:ext cx="12192000" cy="1507462"/>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7" name="Documenttype">
            <a:extLst>
              <a:ext uri="{FF2B5EF4-FFF2-40B4-BE49-F238E27FC236}">
                <a16:creationId xmlns:a16="http://schemas.microsoft.com/office/drawing/2014/main" id="{0F3FF28E-2DBF-4A30-9824-7AEEE5DB5C18}"/>
              </a:ext>
            </a:extLst>
          </p:cNvPr>
          <p:cNvSpPr>
            <a:spLocks noGrp="1"/>
          </p:cNvSpPr>
          <p:nvPr>
            <p:ph type="body" sz="quarter" idx="13" hasCustomPrompt="1"/>
            <p:custDataLst>
              <p:tags r:id="rId3"/>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D69A11EA-2D65-43CB-91C6-D357AC640203}"/>
              </a:ext>
            </a:extLst>
          </p:cNvPr>
          <p:cNvSpPr>
            <a:spLocks noGrp="1"/>
          </p:cNvSpPr>
          <p:nvPr>
            <p:ph type="subTitle" idx="1"/>
            <p:custDataLst>
              <p:tags r:id="rId4"/>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1" name="Title">
            <a:extLst>
              <a:ext uri="{FF2B5EF4-FFF2-40B4-BE49-F238E27FC236}">
                <a16:creationId xmlns:a16="http://schemas.microsoft.com/office/drawing/2014/main" id="{648DC54C-5450-4B3E-8814-2A74A1321519}"/>
              </a:ext>
            </a:extLst>
          </p:cNvPr>
          <p:cNvSpPr>
            <a:spLocks noGrp="1"/>
          </p:cNvSpPr>
          <p:nvPr>
            <p:ph type="title" hasCustomPrompt="1"/>
            <p:custDataLst>
              <p:tags r:id="rId5"/>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bg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3855217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29168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b="0" dirty="0">
                <a:solidFill>
                  <a:schemeClr val="accent1"/>
                </a:solidFill>
              </a:defRPr>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787BE07F-C63D-4F9D-8261-69288C91225B}"/>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397573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5823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4869802-E16F-4A28-8BBB-FC35B9F96FBB}"/>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60013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193807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FC47757-6F87-455C-A654-7C75C57A1B88}"/>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261326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292520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C90085F-0C5D-430F-9D17-21159A8A971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915092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3164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F8C573BE-9C2D-4EF2-A4D3-A79B8B1D3A42}"/>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5065695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479814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42" name="Group 41">
            <a:extLst>
              <a:ext uri="{FF2B5EF4-FFF2-40B4-BE49-F238E27FC236}">
                <a16:creationId xmlns:a16="http://schemas.microsoft.com/office/drawing/2014/main" id="{DF90BE24-DAD5-40A0-8D1E-210869C38659}"/>
              </a:ext>
            </a:extLst>
          </p:cNvPr>
          <p:cNvGrpSpPr/>
          <p:nvPr userDrawn="1"/>
        </p:nvGrpSpPr>
        <p:grpSpPr>
          <a:xfrm>
            <a:off x="9318251" y="6528816"/>
            <a:ext cx="2033975" cy="256591"/>
            <a:chOff x="9596444" y="6528816"/>
            <a:chExt cx="2033975" cy="256591"/>
          </a:xfrm>
        </p:grpSpPr>
        <p:sp>
          <p:nvSpPr>
            <p:cNvPr id="28" name="Freeform: Shape 27">
              <a:extLst>
                <a:ext uri="{FF2B5EF4-FFF2-40B4-BE49-F238E27FC236}">
                  <a16:creationId xmlns:a16="http://schemas.microsoft.com/office/drawing/2014/main" id="{CF262B2A-5A0D-4E43-95E8-DD7617C0B554}"/>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8" name="Group 7">
              <a:extLst>
                <a:ext uri="{FF2B5EF4-FFF2-40B4-BE49-F238E27FC236}">
                  <a16:creationId xmlns:a16="http://schemas.microsoft.com/office/drawing/2014/main" id="{FAB479E1-AAA5-4223-906C-972BFAC08A5B}"/>
                </a:ext>
              </a:extLst>
            </p:cNvPr>
            <p:cNvGrpSpPr/>
            <p:nvPr userDrawn="1"/>
          </p:nvGrpSpPr>
          <p:grpSpPr>
            <a:xfrm>
              <a:off x="10651738" y="6635448"/>
              <a:ext cx="978681" cy="68285"/>
              <a:chOff x="10651738" y="6635448"/>
              <a:chExt cx="978681" cy="68285"/>
            </a:xfrm>
            <a:solidFill>
              <a:schemeClr val="tx1"/>
            </a:solidFill>
          </p:grpSpPr>
          <p:sp>
            <p:nvSpPr>
              <p:cNvPr id="29" name="Freeform: Shape 28">
                <a:extLst>
                  <a:ext uri="{FF2B5EF4-FFF2-40B4-BE49-F238E27FC236}">
                    <a16:creationId xmlns:a16="http://schemas.microsoft.com/office/drawing/2014/main" id="{3950F227-6E54-465D-9A6F-589A2C30AF7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E7BE0C3-19B3-4063-A924-03969281275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794EB8C-307D-46FD-9128-1648DF6A9974}"/>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16AD69D-2987-4D61-AC91-4C2280E39147}"/>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1222EC3-084F-4FA5-AE2E-BE1EA133318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6E7C789-BFAF-4468-A29B-F92A1784C0FE}"/>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4C6DD3BF-B8E6-4D23-904E-0D4987EF185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53940B6-B5D3-479D-805F-BD6D9D3B13A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CA9029C-AE55-4498-9F30-9B304ADD00A6}"/>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453AC4FE-E49F-4446-9822-E81FF4DE943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46F738A-79F5-40A0-91C4-9336C85BFD2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9DA124E-6738-491C-88FE-D5F24C7F0EF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8EF10BD-4D9D-4353-B2C2-4D541A2A64C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716BE200-D122-419E-B9F6-951B77125BA3}"/>
                </a:ext>
              </a:extLst>
            </p:cNvPr>
            <p:cNvGrpSpPr/>
            <p:nvPr userDrawn="1"/>
          </p:nvGrpSpPr>
          <p:grpSpPr>
            <a:xfrm>
              <a:off x="9596444" y="6528816"/>
              <a:ext cx="978690" cy="218599"/>
              <a:chOff x="9596444" y="6528816"/>
              <a:chExt cx="978690" cy="218599"/>
            </a:xfrm>
          </p:grpSpPr>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E4B7F58D-27A1-4049-AB99-6D919A70E9C6}"/>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C9E2E8C7-47BE-4CE7-B56F-D8833A6E75BC}"/>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80BA5C73-1154-4FC0-8D0A-87A7645573A7}"/>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51E2DB51-23D5-4823-B0EF-8702ECF5E6D2}"/>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633503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9378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325A52-F9F5-49A8-B334-5E1B8032C139}"/>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EC272AA3-9028-4DC3-BA67-2DC90F70D43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B088E19A-1AF1-45D9-B231-DBC3C73EFBC2}"/>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85865606-666D-4EBF-B15D-9DFE6B1449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BEB76E29-34D2-4581-9611-BF8499735B71}"/>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6ED56F0-B243-4270-83E1-66D3E357D7D9}"/>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FCE09B65-11BE-4398-9B93-EB83A697EA6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9F3A607-2754-4B4B-A244-0878F71DD505}"/>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904EB0B-1D99-44A0-9D1D-CA6659EEFA0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6672C9-FC8C-4F21-895A-4012EBB1B2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4BEDE614-BE19-476A-9DDE-D3A34E147E0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93B8053-3B62-41EC-A88C-FF34B6597A7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6A73CC4-2934-4143-A8D0-6F9796C9674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320ED28-6388-461C-BFA5-DE204470AF9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7662221-3269-4BD3-8881-3B9B97E82786}"/>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09D0F6F7-C8EA-4189-84F1-9F4CC4E42B9C}"/>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510A3529-8430-4616-861F-3382D56EE618}"/>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897A925-9287-4B17-8EBA-7AEF407AE29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4BFFFBF3-12FC-4C5C-97B4-6C356D2441B2}"/>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ADA212A-AEE4-4EFC-BD40-8C9A3A63D4E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0E1C911-8EBE-4600-89FC-58E0156DB3C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90265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7918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0ACAA81B-90A7-4A49-AA37-873F677635FE}"/>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174E6DAF-6B06-4807-9213-33C908E719B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1C2EBD83-A1FD-4292-BE32-3A03B5B5FE48}"/>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019B946-4640-4E1B-8B70-A31DD6C8948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56709DA-61AF-4FDE-9038-0DE9C323F66E}"/>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AFE3DE-7087-49F1-99C8-C7B91F98B282}"/>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5A07855-3A58-4E23-8B51-744DF88A3603}"/>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22DC008-4B7D-481A-A09E-C0C890D9D95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4C9222C-7BED-4E1E-81E9-4AA0F56938E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09B1EB7-7372-4577-96F1-70D96FDDEC8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E3A20C1-5E1F-4A58-A027-0A85344074E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89E1BEA-8364-4113-9C09-036666D3F632}"/>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742BD27-8450-4BCC-964F-D796E268D4B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F167EBF9-04E0-46E3-850C-835005D9295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305AED6-070B-4B65-B012-928A80FC553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FFA3DCA-F213-410B-9526-285D8745DD0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246AC750-0488-4E17-83A0-C862149D0DE7}"/>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8ECA2D96-980A-48F5-87E1-332D01C648F0}"/>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05C4CF1B-096F-422F-AD33-F5C37C5307F4}"/>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E6CE48F3-8F62-434B-A0CC-F13339B53F3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40DE9E-41E0-4056-B73E-E8D3F768DC71}"/>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4467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32238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702062F0-2474-47FE-AFCB-7DB2E5F8BB51}"/>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6038A781-6E11-45C8-8F58-D84B7893253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2199006-044B-4548-9CD9-44F42D3253EE}"/>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410F83D-0D67-41A0-B3BB-C4686D9AC7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45BAAAE-D0E4-4C47-B92E-801D86EB8B6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642DD567-848C-4786-8D17-94B411F03F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37E1297E-138D-45FD-91EF-29224459821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8A4BA17-8BFC-4E10-A138-4B4240045A5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6C956AA-9C84-4E4B-AD85-08C7F05FA55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95EAC5C-7C47-427D-824A-A1B4336E290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6027068-9B6E-4E6B-BC23-4C10FFAFA52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6C5C74E-3E79-4FAB-B1D6-F51B62AB420D}"/>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2B47949-9B55-4909-BF03-74103C98D72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B4092786-E365-4B09-97A2-DDC9A64A5352}"/>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98E1C81-B619-4DE7-95E9-86D64379E89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DB8779E-859F-4E50-A168-FF4D80ED5FE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733822F2-44DC-4698-9C03-07710DC42373}"/>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B1A205C-1C48-4943-B750-021494D37D5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8B36F7B2-8C52-4C24-9CC4-07C0A26920A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A7F7B88B-7DF2-4980-9CF5-6049F30EBF8C}"/>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951F8FF-ED5A-4EB7-BBA5-5C3273F2BA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78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F5A88EF-2119-4F1C-91F5-85A89D53EDCD}"/>
              </a:ext>
            </a:extLst>
          </p:cNvPr>
          <p:cNvSpPr txBox="1">
            <a:spLocks/>
          </p:cNvSpPr>
          <p:nvPr userDrawn="1"/>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CA16824-BE4D-4921-974B-7F9AF6B1CB55}"/>
              </a:ext>
            </a:extLst>
          </p:cNvPr>
          <p:cNvSpPr>
            <a:spLocks noGrp="1"/>
          </p:cNvSpPr>
          <p:nvPr>
            <p:ph type="title" hasCustomPrompt="1"/>
          </p:nvPr>
        </p:nvSpPr>
        <p:spPr>
          <a:xfrm>
            <a:off x="838200" y="1"/>
            <a:ext cx="10515600" cy="1367882"/>
          </a:xfrm>
        </p:spPr>
        <p:txBody>
          <a:bodyPr>
            <a:normAutofit/>
          </a:bodyPr>
          <a:lstStyle>
            <a:lvl1pPr algn="ctr">
              <a:defRPr sz="2800">
                <a:solidFill>
                  <a:schemeClr val="bg1"/>
                </a:solidFill>
                <a:latin typeface="Arial Black" panose="020B0A040201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E2BEA73-AC1A-4CA0-B17D-1F77448AD3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7C1358-60BA-4AD9-AC74-341BEBE566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163E2F-5EB2-4D68-80F0-6E6B8E967975}"/>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1253621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3805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9F98B04B-0152-4879-8A69-2353A1191B43}"/>
              </a:ext>
            </a:extLst>
          </p:cNvPr>
          <p:cNvGrpSpPr/>
          <p:nvPr userDrawn="1"/>
        </p:nvGrpSpPr>
        <p:grpSpPr>
          <a:xfrm>
            <a:off x="9318251" y="6528816"/>
            <a:ext cx="2033975" cy="256591"/>
            <a:chOff x="9596444" y="6528816"/>
            <a:chExt cx="2033975" cy="256591"/>
          </a:xfrm>
        </p:grpSpPr>
        <p:sp>
          <p:nvSpPr>
            <p:cNvPr id="25" name="Freeform: Shape 24">
              <a:extLst>
                <a:ext uri="{FF2B5EF4-FFF2-40B4-BE49-F238E27FC236}">
                  <a16:creationId xmlns:a16="http://schemas.microsoft.com/office/drawing/2014/main" id="{552CCDF8-63E1-45BF-9D88-4C40F2B263F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6" name="Group 25">
              <a:extLst>
                <a:ext uri="{FF2B5EF4-FFF2-40B4-BE49-F238E27FC236}">
                  <a16:creationId xmlns:a16="http://schemas.microsoft.com/office/drawing/2014/main" id="{99271246-D64B-4358-8398-C63EAC61F75E}"/>
                </a:ext>
              </a:extLst>
            </p:cNvPr>
            <p:cNvGrpSpPr/>
            <p:nvPr userDrawn="1"/>
          </p:nvGrpSpPr>
          <p:grpSpPr>
            <a:xfrm>
              <a:off x="10651738" y="6635448"/>
              <a:ext cx="978681" cy="68285"/>
              <a:chOff x="10651738" y="6635448"/>
              <a:chExt cx="978681" cy="68285"/>
            </a:xfrm>
            <a:solidFill>
              <a:schemeClr val="tx1"/>
            </a:solidFill>
          </p:grpSpPr>
          <p:sp>
            <p:nvSpPr>
              <p:cNvPr id="31" name="Freeform: Shape 30">
                <a:extLst>
                  <a:ext uri="{FF2B5EF4-FFF2-40B4-BE49-F238E27FC236}">
                    <a16:creationId xmlns:a16="http://schemas.microsoft.com/office/drawing/2014/main" id="{EF1F8AAC-04D6-4029-82A9-2C2D31BCFBFE}"/>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890676B-8A42-4FF8-B0B0-B013DA7CE06A}"/>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16FBEDF-6BE3-43E8-8FF0-368760DEF077}"/>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DC0F9DD-8A72-4F43-92FF-077311C107D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695F5EF-AB72-4273-A7AF-46B55B77A15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9D9D6B4-051A-4C76-8488-3230D80B6F4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210D327-6484-475B-ACE8-223B30591A2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0228F55-9027-4BE3-A4E4-EC7FCB734E8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3E77D07-7C87-4F7A-9F4F-7C501FE5540A}"/>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2E13801-8ABF-4230-ADB5-E8C69972C88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EB4BC7F-EF9C-42A3-8F6A-878653022BA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FD907A7-56A2-49BA-BD33-DB2D443537A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EFCB608-F37C-44D4-9297-8D228670318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DD430FED-C35D-4215-A831-E49674F79866}"/>
                </a:ext>
              </a:extLst>
            </p:cNvPr>
            <p:cNvGrpSpPr/>
            <p:nvPr userDrawn="1"/>
          </p:nvGrpSpPr>
          <p:grpSpPr>
            <a:xfrm>
              <a:off x="9596444" y="6528816"/>
              <a:ext cx="978690" cy="218599"/>
              <a:chOff x="9596444" y="6528816"/>
              <a:chExt cx="978690" cy="218599"/>
            </a:xfrm>
          </p:grpSpPr>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C9F4E7E1-525A-4F4B-BEBF-41C72E078B0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5FE4C96A-F737-4E80-96D4-98B40EE4066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E2005FDF-037D-487A-A3E0-A9224133ED63}"/>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4" name="Slide Number">
            <a:extLst>
              <a:ext uri="{FF2B5EF4-FFF2-40B4-BE49-F238E27FC236}">
                <a16:creationId xmlns:a16="http://schemas.microsoft.com/office/drawing/2014/main" id="{C9EEF503-7B97-4C15-A6A0-4B3DD1E642DA}"/>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835642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6585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EDCB1688-880B-44E6-8532-22D4FA32778D}"/>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6" name="Group 25">
            <a:extLst>
              <a:ext uri="{FF2B5EF4-FFF2-40B4-BE49-F238E27FC236}">
                <a16:creationId xmlns:a16="http://schemas.microsoft.com/office/drawing/2014/main" id="{367C718F-B6FC-4F32-A687-E6345369BF48}"/>
              </a:ext>
            </a:extLst>
          </p:cNvPr>
          <p:cNvGrpSpPr/>
          <p:nvPr userDrawn="1"/>
        </p:nvGrpSpPr>
        <p:grpSpPr>
          <a:xfrm>
            <a:off x="9318251" y="6528816"/>
            <a:ext cx="2033975" cy="256591"/>
            <a:chOff x="9596444" y="6528816"/>
            <a:chExt cx="2033975" cy="256591"/>
          </a:xfrm>
        </p:grpSpPr>
        <p:grpSp>
          <p:nvGrpSpPr>
            <p:cNvPr id="27" name="Group 26">
              <a:extLst>
                <a:ext uri="{FF2B5EF4-FFF2-40B4-BE49-F238E27FC236}">
                  <a16:creationId xmlns:a16="http://schemas.microsoft.com/office/drawing/2014/main" id="{20D85453-3475-47CD-BA49-9BAF7B54FD8D}"/>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C002211B-6254-4B48-85B8-915BBDBEF2B8}"/>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E0E980E5-9629-4B99-82C2-063791A7FEE6}"/>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88531A5-70FC-4E31-97BC-81F1100F470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649D9D58-2D0A-4C94-8097-09A3B606F043}"/>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703547EE-6B23-4900-A907-02FF77FBF2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DD82EC54-A6E1-4012-A726-EFA474F867D8}"/>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BEAB689-2287-43AD-8B55-3EBEC14E75D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733F500-C94C-4049-AB0A-580327ADDC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CB0714E1-36E0-453E-8138-776AE641A09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C8D694D-8BF1-4CAD-AF33-FE5C69136DA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4E35D0F-847A-4A08-A158-584FC4ECCD1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754A57D-06F0-4B99-91F5-FDD3A79EDB2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D93099B-6CBA-497E-865E-960086F4B21C}"/>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E1A6EBE-B107-4F1E-A20D-3D3E13D891AE}"/>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27C0880C-4B8C-4B2A-8176-21CBAA805705}"/>
                </a:ext>
              </a:extLst>
            </p:cNvPr>
            <p:cNvPicPr>
              <a:picLocks noChangeAspect="1" noChangeArrowheads="1"/>
            </p:cNvPicPr>
            <p:nvPr userDrawn="1"/>
          </p:nvPicPr>
          <p:blipFill rotWithShape="1">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3CAD8EF4-73AA-484C-80B7-10C6455E0A6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9A1B76F2-1580-4C26-8214-59733C9D105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5" name="Slide Number">
            <a:extLst>
              <a:ext uri="{FF2B5EF4-FFF2-40B4-BE49-F238E27FC236}">
                <a16:creationId xmlns:a16="http://schemas.microsoft.com/office/drawing/2014/main" id="{5B42C0FF-3D21-4746-99D6-4E4EF88BDCB1}"/>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6605876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3807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89EE01A-1C15-4DF9-A3EC-82610720CEA0}"/>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049293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7793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3" name="Group 52">
            <a:extLst>
              <a:ext uri="{FF2B5EF4-FFF2-40B4-BE49-F238E27FC236}">
                <a16:creationId xmlns:a16="http://schemas.microsoft.com/office/drawing/2014/main" id="{C52640D5-C2A7-4D5A-82E3-7F2081D2264A}"/>
              </a:ext>
            </a:extLst>
          </p:cNvPr>
          <p:cNvGrpSpPr/>
          <p:nvPr userDrawn="1"/>
        </p:nvGrpSpPr>
        <p:grpSpPr>
          <a:xfrm>
            <a:off x="3302368" y="3076576"/>
            <a:ext cx="5587266" cy="704850"/>
            <a:chOff x="3302368" y="3076576"/>
            <a:chExt cx="5587266" cy="704850"/>
          </a:xfrm>
        </p:grpSpPr>
        <p:sp>
          <p:nvSpPr>
            <p:cNvPr id="14" name="Freeform: Shape 13">
              <a:extLst>
                <a:ext uri="{FF2B5EF4-FFF2-40B4-BE49-F238E27FC236}">
                  <a16:creationId xmlns:a16="http://schemas.microsoft.com/office/drawing/2014/main" id="{DE52504B-ED5A-4ABC-906C-C5D956CD9F25}"/>
                </a:ext>
              </a:extLst>
            </p:cNvPr>
            <p:cNvSpPr/>
            <p:nvPr/>
          </p:nvSpPr>
          <p:spPr bwMode="ltGray">
            <a:xfrm>
              <a:off x="6728190" y="3162606"/>
              <a:ext cx="813666" cy="618820"/>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15" name="Group 14">
              <a:extLst>
                <a:ext uri="{FF2B5EF4-FFF2-40B4-BE49-F238E27FC236}">
                  <a16:creationId xmlns:a16="http://schemas.microsoft.com/office/drawing/2014/main" id="{98641A9D-4DC7-4792-8A7F-A70CFD2B5B6C}"/>
                </a:ext>
              </a:extLst>
            </p:cNvPr>
            <p:cNvGrpSpPr/>
            <p:nvPr userDrawn="1"/>
          </p:nvGrpSpPr>
          <p:grpSpPr>
            <a:xfrm>
              <a:off x="6201228" y="3369492"/>
              <a:ext cx="2688406" cy="187577"/>
              <a:chOff x="10651738" y="6635448"/>
              <a:chExt cx="978681" cy="68285"/>
            </a:xfrm>
            <a:solidFill>
              <a:schemeClr val="tx1"/>
            </a:solidFill>
          </p:grpSpPr>
          <p:sp>
            <p:nvSpPr>
              <p:cNvPr id="20" name="Freeform: Shape 19">
                <a:extLst>
                  <a:ext uri="{FF2B5EF4-FFF2-40B4-BE49-F238E27FC236}">
                    <a16:creationId xmlns:a16="http://schemas.microsoft.com/office/drawing/2014/main" id="{C6F02C6B-D586-4E1F-A319-33FB070C2D6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D7D25B7-6398-4BCD-AAB5-76B3A9DEE9D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52F243-63BC-4A1E-8094-0208EC7EEA98}"/>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0565766-BFA1-4C11-B6C2-E4E50492C60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11E93A0F-9FF1-4C8C-8C01-D8AAF296F9C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E41DFE5-AABA-47B9-9D0A-E6FC4CE3D5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095C75E-C985-4EBE-8183-B749FBEDA5B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99C64CA0-33C8-4B9B-B80E-2B795888339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A4C7BBF-C137-4D57-BB22-36168F2FF07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EBC8D6C-904B-4952-B99F-AC3984C966B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23F6A3-2BF6-4F5B-9594-E5F78E727EB3}"/>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4492F39-8B60-483B-BCE2-CA916B186F1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1DE0FDC-988E-40C2-AA73-EAF3AE866E9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pic>
          <p:nvPicPr>
            <p:cNvPr id="18" name="Picture 17" descr="Michigan among top 10 pro-business states, named most improved state in  CNBC rankings | Economic development, Pure michigan, Michigan">
              <a:extLst>
                <a:ext uri="{FF2B5EF4-FFF2-40B4-BE49-F238E27FC236}">
                  <a16:creationId xmlns:a16="http://schemas.microsoft.com/office/drawing/2014/main" id="{DAEC263C-8BE3-4277-A4E7-52F1BA0071F4}"/>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50755" r="52979" b="40362"/>
            <a:stretch/>
          </p:blipFill>
          <p:spPr bwMode="ltGray">
            <a:xfrm>
              <a:off x="3302368" y="3492062"/>
              <a:ext cx="2629687" cy="185001"/>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descr="Michigan among top 10 pro-business states, named most improved state in  CNBC rankings | Economic development, Pure michigan, Michigan">
              <a:extLst>
                <a:ext uri="{FF2B5EF4-FFF2-40B4-BE49-F238E27FC236}">
                  <a16:creationId xmlns:a16="http://schemas.microsoft.com/office/drawing/2014/main" id="{34FA4C92-F722-46F2-AE34-F462A4B88043}"/>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30807" r="52037" b="49245"/>
            <a:stretch/>
          </p:blipFill>
          <p:spPr bwMode="ltGray">
            <a:xfrm>
              <a:off x="3302368" y="3076576"/>
              <a:ext cx="2688431" cy="415486"/>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Michigan among top 10 pro-business states, named most improved state in  CNBC rankings | Economic development, Pure michigan, Michigan">
              <a:extLst>
                <a:ext uri="{FF2B5EF4-FFF2-40B4-BE49-F238E27FC236}">
                  <a16:creationId xmlns:a16="http://schemas.microsoft.com/office/drawing/2014/main" id="{2AD44453-2870-46B9-9F93-64A4EAC378DD}"/>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7963" t="34937" r="48877" b="36416"/>
            <a:stretch/>
          </p:blipFill>
          <p:spPr bwMode="ltGray">
            <a:xfrm>
              <a:off x="5990796" y="3162606"/>
              <a:ext cx="196831" cy="596666"/>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51424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5385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A5E2D383-6BD7-4E47-AEAB-BF8D485A2A7F}"/>
              </a:ext>
            </a:extLst>
          </p:cNvPr>
          <p:cNvGrpSpPr/>
          <p:nvPr userDrawn="1"/>
        </p:nvGrpSpPr>
        <p:grpSpPr bwMode="ltGray">
          <a:xfrm>
            <a:off x="0" y="0"/>
            <a:ext cx="12192000" cy="6858000"/>
            <a:chOff x="0" y="0"/>
            <a:chExt cx="12192000" cy="6858000"/>
          </a:xfrm>
        </p:grpSpPr>
        <p:pic>
          <p:nvPicPr>
            <p:cNvPr id="9" name="Picture 8" descr="Front-slide.jpg">
              <a:extLst>
                <a:ext uri="{FF2B5EF4-FFF2-40B4-BE49-F238E27FC236}">
                  <a16:creationId xmlns:a16="http://schemas.microsoft.com/office/drawing/2014/main" id="{FC30A1D8-8696-456A-8FD3-9F8331321B1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bwMode="ltGray">
            <a:xfrm>
              <a:off x="0" y="0"/>
              <a:ext cx="12192000" cy="5442613"/>
            </a:xfrm>
            <a:prstGeom prst="rect">
              <a:avLst/>
            </a:prstGeom>
          </p:spPr>
        </p:pic>
        <p:pic>
          <p:nvPicPr>
            <p:cNvPr id="10" name="Picture 9" descr="Front-slide.jpg">
              <a:extLst>
                <a:ext uri="{FF2B5EF4-FFF2-40B4-BE49-F238E27FC236}">
                  <a16:creationId xmlns:a16="http://schemas.microsoft.com/office/drawing/2014/main" id="{99CC370B-6E36-4605-A9B8-1C13046721E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bwMode="ltGray">
            <a:xfrm>
              <a:off x="0" y="5350538"/>
              <a:ext cx="12192000" cy="1507462"/>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7" name="Documenttype">
            <a:extLst>
              <a:ext uri="{FF2B5EF4-FFF2-40B4-BE49-F238E27FC236}">
                <a16:creationId xmlns:a16="http://schemas.microsoft.com/office/drawing/2014/main" id="{0F3FF28E-2DBF-4A30-9824-7AEEE5DB5C18}"/>
              </a:ext>
            </a:extLst>
          </p:cNvPr>
          <p:cNvSpPr>
            <a:spLocks noGrp="1"/>
          </p:cNvSpPr>
          <p:nvPr>
            <p:ph type="body" sz="quarter" idx="13" hasCustomPrompt="1"/>
            <p:custDataLst>
              <p:tags r:id="rId3"/>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D69A11EA-2D65-43CB-91C6-D357AC640203}"/>
              </a:ext>
            </a:extLst>
          </p:cNvPr>
          <p:cNvSpPr>
            <a:spLocks noGrp="1"/>
          </p:cNvSpPr>
          <p:nvPr>
            <p:ph type="subTitle" idx="1"/>
            <p:custDataLst>
              <p:tags r:id="rId4"/>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1" name="Title">
            <a:extLst>
              <a:ext uri="{FF2B5EF4-FFF2-40B4-BE49-F238E27FC236}">
                <a16:creationId xmlns:a16="http://schemas.microsoft.com/office/drawing/2014/main" id="{648DC54C-5450-4B3E-8814-2A74A1321519}"/>
              </a:ext>
            </a:extLst>
          </p:cNvPr>
          <p:cNvSpPr>
            <a:spLocks noGrp="1"/>
          </p:cNvSpPr>
          <p:nvPr>
            <p:ph type="title" hasCustomPrompt="1"/>
            <p:custDataLst>
              <p:tags r:id="rId5"/>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bg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37396629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2017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b="0" dirty="0">
                <a:solidFill>
                  <a:schemeClr val="accent1"/>
                </a:solidFill>
              </a:defRPr>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787BE07F-C63D-4F9D-8261-69288C91225B}"/>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377773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741372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4869802-E16F-4A28-8BBB-FC35B9F96FBB}"/>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2012330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4318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FC47757-6F87-455C-A654-7C75C57A1B88}"/>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389636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43461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C90085F-0C5D-430F-9D17-21159A8A971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72642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51508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F8C573BE-9C2D-4EF2-A4D3-A79B8B1D3A42}"/>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15847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Thank You">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485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89147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flipH="1">
            <a:off x="0" y="0"/>
            <a:ext cx="341376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42" name="Group 41">
            <a:extLst>
              <a:ext uri="{FF2B5EF4-FFF2-40B4-BE49-F238E27FC236}">
                <a16:creationId xmlns:a16="http://schemas.microsoft.com/office/drawing/2014/main" id="{DF90BE24-DAD5-40A0-8D1E-210869C38659}"/>
              </a:ext>
            </a:extLst>
          </p:cNvPr>
          <p:cNvGrpSpPr/>
          <p:nvPr userDrawn="1"/>
        </p:nvGrpSpPr>
        <p:grpSpPr>
          <a:xfrm>
            <a:off x="9318251" y="6528816"/>
            <a:ext cx="2033975" cy="256591"/>
            <a:chOff x="9596444" y="6528816"/>
            <a:chExt cx="2033975" cy="256591"/>
          </a:xfrm>
        </p:grpSpPr>
        <p:sp>
          <p:nvSpPr>
            <p:cNvPr id="28" name="Freeform: Shape 27">
              <a:extLst>
                <a:ext uri="{FF2B5EF4-FFF2-40B4-BE49-F238E27FC236}">
                  <a16:creationId xmlns:a16="http://schemas.microsoft.com/office/drawing/2014/main" id="{CF262B2A-5A0D-4E43-95E8-DD7617C0B554}"/>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8" name="Group 7">
              <a:extLst>
                <a:ext uri="{FF2B5EF4-FFF2-40B4-BE49-F238E27FC236}">
                  <a16:creationId xmlns:a16="http://schemas.microsoft.com/office/drawing/2014/main" id="{FAB479E1-AAA5-4223-906C-972BFAC08A5B}"/>
                </a:ext>
              </a:extLst>
            </p:cNvPr>
            <p:cNvGrpSpPr/>
            <p:nvPr userDrawn="1"/>
          </p:nvGrpSpPr>
          <p:grpSpPr>
            <a:xfrm>
              <a:off x="10651738" y="6635448"/>
              <a:ext cx="978681" cy="68285"/>
              <a:chOff x="10651738" y="6635448"/>
              <a:chExt cx="978681" cy="68285"/>
            </a:xfrm>
            <a:solidFill>
              <a:schemeClr val="tx1"/>
            </a:solidFill>
          </p:grpSpPr>
          <p:sp>
            <p:nvSpPr>
              <p:cNvPr id="29" name="Freeform: Shape 28">
                <a:extLst>
                  <a:ext uri="{FF2B5EF4-FFF2-40B4-BE49-F238E27FC236}">
                    <a16:creationId xmlns:a16="http://schemas.microsoft.com/office/drawing/2014/main" id="{3950F227-6E54-465D-9A6F-589A2C30AF7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E7BE0C3-19B3-4063-A924-03969281275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794EB8C-307D-46FD-9128-1648DF6A9974}"/>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16AD69D-2987-4D61-AC91-4C2280E39147}"/>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1222EC3-084F-4FA5-AE2E-BE1EA133318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6E7C789-BFAF-4468-A29B-F92A1784C0FE}"/>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4C6DD3BF-B8E6-4D23-904E-0D4987EF185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53940B6-B5D3-479D-805F-BD6D9D3B13A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CA9029C-AE55-4498-9F30-9B304ADD00A6}"/>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453AC4FE-E49F-4446-9822-E81FF4DE943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46F738A-79F5-40A0-91C4-9336C85BFD2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9DA124E-6738-491C-88FE-D5F24C7F0EF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8EF10BD-4D9D-4353-B2C2-4D541A2A64C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716BE200-D122-419E-B9F6-951B77125BA3}"/>
                </a:ext>
              </a:extLst>
            </p:cNvPr>
            <p:cNvGrpSpPr/>
            <p:nvPr userDrawn="1"/>
          </p:nvGrpSpPr>
          <p:grpSpPr>
            <a:xfrm>
              <a:off x="9596444" y="6528816"/>
              <a:ext cx="978690" cy="218599"/>
              <a:chOff x="9596444" y="6528816"/>
              <a:chExt cx="978690" cy="218599"/>
            </a:xfrm>
          </p:grpSpPr>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E4B7F58D-27A1-4049-AB99-6D919A70E9C6}"/>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C9E2E8C7-47BE-4CE7-B56F-D8833A6E75BC}"/>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80BA5C73-1154-4FC0-8D0A-87A7645573A7}"/>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51E2DB51-23D5-4823-B0EF-8702ECF5E6D2}"/>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8598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095694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325A52-F9F5-49A8-B334-5E1B8032C139}"/>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EC272AA3-9028-4DC3-BA67-2DC90F70D43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B088E19A-1AF1-45D9-B231-DBC3C73EFBC2}"/>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85865606-666D-4EBF-B15D-9DFE6B1449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BEB76E29-34D2-4581-9611-BF8499735B71}"/>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6ED56F0-B243-4270-83E1-66D3E357D7D9}"/>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FCE09B65-11BE-4398-9B93-EB83A697EA6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9F3A607-2754-4B4B-A244-0878F71DD505}"/>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904EB0B-1D99-44A0-9D1D-CA6659EEFA0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6672C9-FC8C-4F21-895A-4012EBB1B2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4BEDE614-BE19-476A-9DDE-D3A34E147E0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93B8053-3B62-41EC-A88C-FF34B6597A7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6A73CC4-2934-4143-A8D0-6F9796C9674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320ED28-6388-461C-BFA5-DE204470AF9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7662221-3269-4BD3-8881-3B9B97E82786}"/>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09D0F6F7-C8EA-4189-84F1-9F4CC4E42B9C}"/>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510A3529-8430-4616-861F-3382D56EE618}"/>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897A925-9287-4B17-8EBA-7AEF407AE29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4BFFFBF3-12FC-4C5C-97B4-6C356D2441B2}"/>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ADA212A-AEE4-4EFC-BD40-8C9A3A63D4E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0E1C911-8EBE-4600-89FC-58E0156DB3C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637056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1138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0ACAA81B-90A7-4A49-AA37-873F677635FE}"/>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174E6DAF-6B06-4807-9213-33C908E719B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1C2EBD83-A1FD-4292-BE32-3A03B5B5FE48}"/>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019B946-4640-4E1B-8B70-A31DD6C8948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56709DA-61AF-4FDE-9038-0DE9C323F66E}"/>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AFE3DE-7087-49F1-99C8-C7B91F98B282}"/>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5A07855-3A58-4E23-8B51-744DF88A3603}"/>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22DC008-4B7D-481A-A09E-C0C890D9D95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4C9222C-7BED-4E1E-81E9-4AA0F56938E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09B1EB7-7372-4577-96F1-70D96FDDEC8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E3A20C1-5E1F-4A58-A027-0A85344074E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89E1BEA-8364-4113-9C09-036666D3F632}"/>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742BD27-8450-4BCC-964F-D796E268D4B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F167EBF9-04E0-46E3-850C-835005D9295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305AED6-070B-4B65-B012-928A80FC553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FFA3DCA-F213-410B-9526-285D8745DD0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246AC750-0488-4E17-83A0-C862149D0DE7}"/>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8ECA2D96-980A-48F5-87E1-332D01C648F0}"/>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05C4CF1B-096F-422F-AD33-F5C37C5307F4}"/>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E6CE48F3-8F62-434B-A0CC-F13339B53F3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40DE9E-41E0-4056-B73E-E8D3F768DC71}"/>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740824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08314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702062F0-2474-47FE-AFCB-7DB2E5F8BB51}"/>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6038A781-6E11-45C8-8F58-D84B7893253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2199006-044B-4548-9CD9-44F42D3253EE}"/>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410F83D-0D67-41A0-B3BB-C4686D9AC7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45BAAAE-D0E4-4C47-B92E-801D86EB8B6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642DD567-848C-4786-8D17-94B411F03F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37E1297E-138D-45FD-91EF-29224459821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8A4BA17-8BFC-4E10-A138-4B4240045A5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6C956AA-9C84-4E4B-AD85-08C7F05FA55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95EAC5C-7C47-427D-824A-A1B4336E290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6027068-9B6E-4E6B-BC23-4C10FFAFA52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6C5C74E-3E79-4FAB-B1D6-F51B62AB420D}"/>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2B47949-9B55-4909-BF03-74103C98D72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B4092786-E365-4B09-97A2-DDC9A64A5352}"/>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98E1C81-B619-4DE7-95E9-86D64379E89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DB8779E-859F-4E50-A168-FF4D80ED5FE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733822F2-44DC-4698-9C03-07710DC42373}"/>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B1A205C-1C48-4943-B750-021494D37D5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8B36F7B2-8C52-4C24-9CC4-07C0A26920A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A7F7B88B-7DF2-4980-9CF5-6049F30EBF8C}"/>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951F8FF-ED5A-4EB7-BBA5-5C3273F2BA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138852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24659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9F98B04B-0152-4879-8A69-2353A1191B43}"/>
              </a:ext>
            </a:extLst>
          </p:cNvPr>
          <p:cNvGrpSpPr/>
          <p:nvPr userDrawn="1"/>
        </p:nvGrpSpPr>
        <p:grpSpPr>
          <a:xfrm>
            <a:off x="9318251" y="6528816"/>
            <a:ext cx="2033975" cy="256591"/>
            <a:chOff x="9596444" y="6528816"/>
            <a:chExt cx="2033975" cy="256591"/>
          </a:xfrm>
        </p:grpSpPr>
        <p:sp>
          <p:nvSpPr>
            <p:cNvPr id="25" name="Freeform: Shape 24">
              <a:extLst>
                <a:ext uri="{FF2B5EF4-FFF2-40B4-BE49-F238E27FC236}">
                  <a16:creationId xmlns:a16="http://schemas.microsoft.com/office/drawing/2014/main" id="{552CCDF8-63E1-45BF-9D88-4C40F2B263F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6" name="Group 25">
              <a:extLst>
                <a:ext uri="{FF2B5EF4-FFF2-40B4-BE49-F238E27FC236}">
                  <a16:creationId xmlns:a16="http://schemas.microsoft.com/office/drawing/2014/main" id="{99271246-D64B-4358-8398-C63EAC61F75E}"/>
                </a:ext>
              </a:extLst>
            </p:cNvPr>
            <p:cNvGrpSpPr/>
            <p:nvPr userDrawn="1"/>
          </p:nvGrpSpPr>
          <p:grpSpPr>
            <a:xfrm>
              <a:off x="10651738" y="6635448"/>
              <a:ext cx="978681" cy="68285"/>
              <a:chOff x="10651738" y="6635448"/>
              <a:chExt cx="978681" cy="68285"/>
            </a:xfrm>
            <a:solidFill>
              <a:schemeClr val="tx1"/>
            </a:solidFill>
          </p:grpSpPr>
          <p:sp>
            <p:nvSpPr>
              <p:cNvPr id="31" name="Freeform: Shape 30">
                <a:extLst>
                  <a:ext uri="{FF2B5EF4-FFF2-40B4-BE49-F238E27FC236}">
                    <a16:creationId xmlns:a16="http://schemas.microsoft.com/office/drawing/2014/main" id="{EF1F8AAC-04D6-4029-82A9-2C2D31BCFBFE}"/>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890676B-8A42-4FF8-B0B0-B013DA7CE06A}"/>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16FBEDF-6BE3-43E8-8FF0-368760DEF077}"/>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DC0F9DD-8A72-4F43-92FF-077311C107D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695F5EF-AB72-4273-A7AF-46B55B77A15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9D9D6B4-051A-4C76-8488-3230D80B6F4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210D327-6484-475B-ACE8-223B30591A2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0228F55-9027-4BE3-A4E4-EC7FCB734E8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3E77D07-7C87-4F7A-9F4F-7C501FE5540A}"/>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2E13801-8ABF-4230-ADB5-E8C69972C88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EB4BC7F-EF9C-42A3-8F6A-878653022BA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FD907A7-56A2-49BA-BD33-DB2D443537A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EFCB608-F37C-44D4-9297-8D228670318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DD430FED-C35D-4215-A831-E49674F79866}"/>
                </a:ext>
              </a:extLst>
            </p:cNvPr>
            <p:cNvGrpSpPr/>
            <p:nvPr userDrawn="1"/>
          </p:nvGrpSpPr>
          <p:grpSpPr>
            <a:xfrm>
              <a:off x="9596444" y="6528816"/>
              <a:ext cx="978690" cy="218599"/>
              <a:chOff x="9596444" y="6528816"/>
              <a:chExt cx="978690" cy="218599"/>
            </a:xfrm>
          </p:grpSpPr>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C9F4E7E1-525A-4F4B-BEBF-41C72E078B0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5FE4C96A-F737-4E80-96D4-98B40EE4066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E2005FDF-037D-487A-A3E0-A9224133ED6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4" name="Slide Number">
            <a:extLst>
              <a:ext uri="{FF2B5EF4-FFF2-40B4-BE49-F238E27FC236}">
                <a16:creationId xmlns:a16="http://schemas.microsoft.com/office/drawing/2014/main" id="{C9EEF503-7B97-4C15-A6A0-4B3DD1E642DA}"/>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236766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9288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EDCB1688-880B-44E6-8532-22D4FA32778D}"/>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6" name="Group 25">
            <a:extLst>
              <a:ext uri="{FF2B5EF4-FFF2-40B4-BE49-F238E27FC236}">
                <a16:creationId xmlns:a16="http://schemas.microsoft.com/office/drawing/2014/main" id="{367C718F-B6FC-4F32-A687-E6345369BF48}"/>
              </a:ext>
            </a:extLst>
          </p:cNvPr>
          <p:cNvGrpSpPr/>
          <p:nvPr userDrawn="1"/>
        </p:nvGrpSpPr>
        <p:grpSpPr>
          <a:xfrm>
            <a:off x="9318251" y="6528816"/>
            <a:ext cx="2033975" cy="256591"/>
            <a:chOff x="9596444" y="6528816"/>
            <a:chExt cx="2033975" cy="256591"/>
          </a:xfrm>
        </p:grpSpPr>
        <p:grpSp>
          <p:nvGrpSpPr>
            <p:cNvPr id="27" name="Group 26">
              <a:extLst>
                <a:ext uri="{FF2B5EF4-FFF2-40B4-BE49-F238E27FC236}">
                  <a16:creationId xmlns:a16="http://schemas.microsoft.com/office/drawing/2014/main" id="{20D85453-3475-47CD-BA49-9BAF7B54FD8D}"/>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C002211B-6254-4B48-85B8-915BBDBEF2B8}"/>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E0E980E5-9629-4B99-82C2-063791A7FEE6}"/>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88531A5-70FC-4E31-97BC-81F1100F470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649D9D58-2D0A-4C94-8097-09A3B606F043}"/>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703547EE-6B23-4900-A907-02FF77FBF2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DD82EC54-A6E1-4012-A726-EFA474F867D8}"/>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BEAB689-2287-43AD-8B55-3EBEC14E75D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733F500-C94C-4049-AB0A-580327ADDC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CB0714E1-36E0-453E-8138-776AE641A09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C8D694D-8BF1-4CAD-AF33-FE5C69136DA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4E35D0F-847A-4A08-A158-584FC4ECCD1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754A57D-06F0-4B99-91F5-FDD3A79EDB2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D93099B-6CBA-497E-865E-960086F4B21C}"/>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E1A6EBE-B107-4F1E-A20D-3D3E13D891AE}"/>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27C0880C-4B8C-4B2A-8176-21CBAA805705}"/>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3CAD8EF4-73AA-484C-80B7-10C6455E0A6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9A1B76F2-1580-4C26-8214-59733C9D1058}"/>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5" name="Slide Number">
            <a:extLst>
              <a:ext uri="{FF2B5EF4-FFF2-40B4-BE49-F238E27FC236}">
                <a16:creationId xmlns:a16="http://schemas.microsoft.com/office/drawing/2014/main" id="{5B42C0FF-3D21-4746-99D6-4E4EF88BDCB1}"/>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6664398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5114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89EE01A-1C15-4DF9-A3EC-82610720CEA0}"/>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20047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431896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3" name="Group 52">
            <a:extLst>
              <a:ext uri="{FF2B5EF4-FFF2-40B4-BE49-F238E27FC236}">
                <a16:creationId xmlns:a16="http://schemas.microsoft.com/office/drawing/2014/main" id="{C52640D5-C2A7-4D5A-82E3-7F2081D2264A}"/>
              </a:ext>
            </a:extLst>
          </p:cNvPr>
          <p:cNvGrpSpPr/>
          <p:nvPr userDrawn="1"/>
        </p:nvGrpSpPr>
        <p:grpSpPr>
          <a:xfrm>
            <a:off x="3302368" y="3076576"/>
            <a:ext cx="5587266" cy="704850"/>
            <a:chOff x="3302368" y="3076576"/>
            <a:chExt cx="5587266" cy="704850"/>
          </a:xfrm>
        </p:grpSpPr>
        <p:sp>
          <p:nvSpPr>
            <p:cNvPr id="14" name="Freeform: Shape 13">
              <a:extLst>
                <a:ext uri="{FF2B5EF4-FFF2-40B4-BE49-F238E27FC236}">
                  <a16:creationId xmlns:a16="http://schemas.microsoft.com/office/drawing/2014/main" id="{DE52504B-ED5A-4ABC-906C-C5D956CD9F25}"/>
                </a:ext>
              </a:extLst>
            </p:cNvPr>
            <p:cNvSpPr/>
            <p:nvPr/>
          </p:nvSpPr>
          <p:spPr bwMode="ltGray">
            <a:xfrm>
              <a:off x="6728190" y="3162606"/>
              <a:ext cx="813666" cy="618820"/>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15" name="Group 14">
              <a:extLst>
                <a:ext uri="{FF2B5EF4-FFF2-40B4-BE49-F238E27FC236}">
                  <a16:creationId xmlns:a16="http://schemas.microsoft.com/office/drawing/2014/main" id="{98641A9D-4DC7-4792-8A7F-A70CFD2B5B6C}"/>
                </a:ext>
              </a:extLst>
            </p:cNvPr>
            <p:cNvGrpSpPr/>
            <p:nvPr userDrawn="1"/>
          </p:nvGrpSpPr>
          <p:grpSpPr>
            <a:xfrm>
              <a:off x="6201228" y="3369492"/>
              <a:ext cx="2688406" cy="187577"/>
              <a:chOff x="10651738" y="6635448"/>
              <a:chExt cx="978681" cy="68285"/>
            </a:xfrm>
            <a:solidFill>
              <a:schemeClr val="tx1"/>
            </a:solidFill>
          </p:grpSpPr>
          <p:sp>
            <p:nvSpPr>
              <p:cNvPr id="20" name="Freeform: Shape 19">
                <a:extLst>
                  <a:ext uri="{FF2B5EF4-FFF2-40B4-BE49-F238E27FC236}">
                    <a16:creationId xmlns:a16="http://schemas.microsoft.com/office/drawing/2014/main" id="{C6F02C6B-D586-4E1F-A319-33FB070C2D6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D7D25B7-6398-4BCD-AAB5-76B3A9DEE9D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52F243-63BC-4A1E-8094-0208EC7EEA98}"/>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0565766-BFA1-4C11-B6C2-E4E50492C60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11E93A0F-9FF1-4C8C-8C01-D8AAF296F9C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E41DFE5-AABA-47B9-9D0A-E6FC4CE3D5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095C75E-C985-4EBE-8183-B749FBEDA5B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99C64CA0-33C8-4B9B-B80E-2B795888339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A4C7BBF-C137-4D57-BB22-36168F2FF07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EBC8D6C-904B-4952-B99F-AC3984C966B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23F6A3-2BF6-4F5B-9594-E5F78E727EB3}"/>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4492F39-8B60-483B-BCE2-CA916B186F1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1DE0FDC-988E-40C2-AA73-EAF3AE866E9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pic>
          <p:nvPicPr>
            <p:cNvPr id="18" name="Picture 17" descr="Michigan among top 10 pro-business states, named most improved state in  CNBC rankings | Economic development, Pure michigan, Michigan">
              <a:extLst>
                <a:ext uri="{FF2B5EF4-FFF2-40B4-BE49-F238E27FC236}">
                  <a16:creationId xmlns:a16="http://schemas.microsoft.com/office/drawing/2014/main" id="{DAEC263C-8BE3-4277-A4E7-52F1BA0071F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815" t="50755" r="52979" b="40362"/>
            <a:stretch/>
          </p:blipFill>
          <p:spPr bwMode="ltGray">
            <a:xfrm>
              <a:off x="3302368" y="3492062"/>
              <a:ext cx="2629687" cy="185001"/>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descr="Michigan among top 10 pro-business states, named most improved state in  CNBC rankings | Economic development, Pure michigan, Michigan">
              <a:extLst>
                <a:ext uri="{FF2B5EF4-FFF2-40B4-BE49-F238E27FC236}">
                  <a16:creationId xmlns:a16="http://schemas.microsoft.com/office/drawing/2014/main" id="{34FA4C92-F722-46F2-AE34-F462A4B88043}"/>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815" t="30807" r="52037" b="49245"/>
            <a:stretch/>
          </p:blipFill>
          <p:spPr bwMode="ltGray">
            <a:xfrm>
              <a:off x="3302368" y="3076576"/>
              <a:ext cx="2688431" cy="415486"/>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Michigan among top 10 pro-business states, named most improved state in  CNBC rankings | Economic development, Pure michigan, Michigan">
              <a:extLst>
                <a:ext uri="{FF2B5EF4-FFF2-40B4-BE49-F238E27FC236}">
                  <a16:creationId xmlns:a16="http://schemas.microsoft.com/office/drawing/2014/main" id="{2AD44453-2870-46B9-9F93-64A4EAC378DD}"/>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47963" t="34937" r="48877" b="36416"/>
            <a:stretch/>
          </p:blipFill>
          <p:spPr bwMode="ltGray">
            <a:xfrm>
              <a:off x="5990796" y="3162606"/>
              <a:ext cx="196831" cy="596666"/>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4115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9430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2117432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4029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Gri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901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138" b="1"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4/23</a:t>
            </a:fld>
            <a:endParaRPr kumimoji="0" lang="en-US"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35778924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802313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5378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570158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1227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797456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91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6"/>
            </p:custDataLst>
          </p:nvPr>
        </p:nvSpPr>
        <p:spPr>
          <a:xfrm>
            <a:off x="7156704"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9304490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8826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C9CD84B-0C78-4910-9EBD-8DA2550B85BE}"/>
              </a:ext>
            </a:extLst>
          </p:cNvPr>
          <p:cNvGrpSpPr/>
          <p:nvPr userDrawn="1"/>
        </p:nvGrpSpPr>
        <p:grpSpPr>
          <a:xfrm>
            <a:off x="0" y="0"/>
            <a:ext cx="12192000" cy="6858000"/>
            <a:chOff x="0" y="0"/>
            <a:chExt cx="12192000" cy="6858000"/>
          </a:xfrm>
        </p:grpSpPr>
        <p:pic>
          <p:nvPicPr>
            <p:cNvPr id="7" name="Picture 6" descr="Front-slide.jpg">
              <a:extLst>
                <a:ext uri="{FF2B5EF4-FFF2-40B4-BE49-F238E27FC236}">
                  <a16:creationId xmlns:a16="http://schemas.microsoft.com/office/drawing/2014/main" id="{EC1450A5-C0F6-44EB-B389-B5FCA3BE05DF}"/>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bwMode="ltGray">
            <a:xfrm>
              <a:off x="0" y="0"/>
              <a:ext cx="12192000" cy="5442613"/>
            </a:xfrm>
            <a:prstGeom prst="rect">
              <a:avLst/>
            </a:prstGeom>
          </p:spPr>
        </p:pic>
        <p:pic>
          <p:nvPicPr>
            <p:cNvPr id="8" name="Picture 7" descr="Front-slide.jpg">
              <a:extLst>
                <a:ext uri="{FF2B5EF4-FFF2-40B4-BE49-F238E27FC236}">
                  <a16:creationId xmlns:a16="http://schemas.microsoft.com/office/drawing/2014/main" id="{4F1C13A1-1DD6-4BAC-A77E-14C8B3C29EFE}"/>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bwMode="ltGray">
            <a:xfrm>
              <a:off x="0" y="5350538"/>
              <a:ext cx="12192000" cy="1507462"/>
            </a:xfrm>
            <a:prstGeom prst="rect">
              <a:avLst/>
            </a:prstGeom>
          </p:spPr>
        </p:pic>
      </p:grpSp>
      <p:sp>
        <p:nvSpPr>
          <p:cNvPr id="9" name="Documenttype">
            <a:extLst>
              <a:ext uri="{FF2B5EF4-FFF2-40B4-BE49-F238E27FC236}">
                <a16:creationId xmlns:a16="http://schemas.microsoft.com/office/drawing/2014/main" id="{2FAC6CB0-6559-4773-B52A-0AC46A431A1E}"/>
              </a:ext>
            </a:extLst>
          </p:cNvPr>
          <p:cNvSpPr>
            <a:spLocks noGrp="1"/>
          </p:cNvSpPr>
          <p:nvPr userDrawn="1">
            <p:ph type="body" sz="quarter" idx="13" hasCustomPrompt="1"/>
            <p:custDataLst>
              <p:tags r:id="rId2"/>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tx1"/>
                </a:solidFill>
              </a:defRPr>
            </a:lvl1pPr>
          </a:lstStyle>
          <a:p>
            <a:pPr lvl="0">
              <a:buNone/>
            </a:pPr>
            <a:r>
              <a:rPr lang="en-US" dirty="0"/>
              <a:t>Edit date or title/role</a:t>
            </a:r>
          </a:p>
        </p:txBody>
      </p:sp>
      <p:sp>
        <p:nvSpPr>
          <p:cNvPr id="10" name="Subtitle">
            <a:extLst>
              <a:ext uri="{FF2B5EF4-FFF2-40B4-BE49-F238E27FC236}">
                <a16:creationId xmlns:a16="http://schemas.microsoft.com/office/drawing/2014/main" id="{CB9DFD5B-1AF3-490A-B65D-0EB56B7AB51E}"/>
              </a:ext>
            </a:extLst>
          </p:cNvPr>
          <p:cNvSpPr>
            <a:spLocks noGrp="1"/>
          </p:cNvSpPr>
          <p:nvPr userDrawn="1">
            <p:ph type="subTitle" idx="1"/>
            <p:custDataLst>
              <p:tags r:id="rId3"/>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tx1"/>
                </a:solidFill>
              </a:defRPr>
            </a:lvl1pPr>
          </a:lstStyle>
          <a:p>
            <a:pPr lvl="0">
              <a:buNone/>
            </a:pPr>
            <a:r>
              <a:rPr lang="en-US" dirty="0"/>
              <a:t>Click to edit Master subtitle style</a:t>
            </a:r>
          </a:p>
        </p:txBody>
      </p:sp>
      <p:sp>
        <p:nvSpPr>
          <p:cNvPr id="12" name="Title">
            <a:extLst>
              <a:ext uri="{FF2B5EF4-FFF2-40B4-BE49-F238E27FC236}">
                <a16:creationId xmlns:a16="http://schemas.microsoft.com/office/drawing/2014/main" id="{262AA4FD-B15A-468B-8945-E2FAFEBE363D}"/>
              </a:ext>
            </a:extLst>
          </p:cNvPr>
          <p:cNvSpPr>
            <a:spLocks noGrp="1"/>
          </p:cNvSpPr>
          <p:nvPr userDrawn="1">
            <p:ph type="title" hasCustomPrompt="1"/>
            <p:custDataLst>
              <p:tags r:id="rId4"/>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tx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24321325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b="0"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4" name="Slide Number">
            <a:extLst>
              <a:ext uri="{FF2B5EF4-FFF2-40B4-BE49-F238E27FC236}">
                <a16:creationId xmlns:a16="http://schemas.microsoft.com/office/drawing/2014/main" id="{1D7454DD-05E9-4168-8520-1688A46A9A11}"/>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566112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14CFEBD6-5FBB-40FA-A73A-0CB54691630C}"/>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093304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C2000824-5537-4AEC-830B-4D5930FB40CC}"/>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648632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B815CF3E-CAEB-4CC9-B522-8A43E85237A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18759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14998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A5E2D383-6BD7-4E47-AEAB-BF8D485A2A7F}"/>
              </a:ext>
            </a:extLst>
          </p:cNvPr>
          <p:cNvGrpSpPr/>
          <p:nvPr userDrawn="1"/>
        </p:nvGrpSpPr>
        <p:grpSpPr bwMode="ltGray">
          <a:xfrm>
            <a:off x="0" y="0"/>
            <a:ext cx="12192000" cy="6858000"/>
            <a:chOff x="0" y="0"/>
            <a:chExt cx="12192000" cy="6858000"/>
          </a:xfrm>
        </p:grpSpPr>
        <p:pic>
          <p:nvPicPr>
            <p:cNvPr id="9" name="Picture 8" descr="Front-slide.jpg">
              <a:extLst>
                <a:ext uri="{FF2B5EF4-FFF2-40B4-BE49-F238E27FC236}">
                  <a16:creationId xmlns:a16="http://schemas.microsoft.com/office/drawing/2014/main" id="{FC30A1D8-8696-456A-8FD3-9F8331321B13}"/>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bwMode="ltGray">
            <a:xfrm>
              <a:off x="0" y="0"/>
              <a:ext cx="12192000" cy="5442613"/>
            </a:xfrm>
            <a:prstGeom prst="rect">
              <a:avLst/>
            </a:prstGeom>
          </p:spPr>
        </p:pic>
        <p:pic>
          <p:nvPicPr>
            <p:cNvPr id="10" name="Picture 9" descr="Front-slide.jpg">
              <a:extLst>
                <a:ext uri="{FF2B5EF4-FFF2-40B4-BE49-F238E27FC236}">
                  <a16:creationId xmlns:a16="http://schemas.microsoft.com/office/drawing/2014/main" id="{99CC370B-6E36-4605-A9B8-1C13046721E1}"/>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bwMode="ltGray">
            <a:xfrm>
              <a:off x="0" y="5350538"/>
              <a:ext cx="12192000" cy="1507462"/>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7" name="Documenttype">
            <a:extLst>
              <a:ext uri="{FF2B5EF4-FFF2-40B4-BE49-F238E27FC236}">
                <a16:creationId xmlns:a16="http://schemas.microsoft.com/office/drawing/2014/main" id="{0F3FF28E-2DBF-4A30-9824-7AEEE5DB5C18}"/>
              </a:ext>
            </a:extLst>
          </p:cNvPr>
          <p:cNvSpPr>
            <a:spLocks noGrp="1"/>
          </p:cNvSpPr>
          <p:nvPr>
            <p:ph type="body" sz="quarter" idx="13" hasCustomPrompt="1"/>
            <p:custDataLst>
              <p:tags r:id="rId3"/>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D69A11EA-2D65-43CB-91C6-D357AC640203}"/>
              </a:ext>
            </a:extLst>
          </p:cNvPr>
          <p:cNvSpPr>
            <a:spLocks noGrp="1"/>
          </p:cNvSpPr>
          <p:nvPr>
            <p:ph type="subTitle" idx="1"/>
            <p:custDataLst>
              <p:tags r:id="rId4"/>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1" name="Title">
            <a:extLst>
              <a:ext uri="{FF2B5EF4-FFF2-40B4-BE49-F238E27FC236}">
                <a16:creationId xmlns:a16="http://schemas.microsoft.com/office/drawing/2014/main" id="{648DC54C-5450-4B3E-8814-2A74A1321519}"/>
              </a:ext>
            </a:extLst>
          </p:cNvPr>
          <p:cNvSpPr>
            <a:spLocks noGrp="1"/>
          </p:cNvSpPr>
          <p:nvPr>
            <p:ph type="title" hasCustomPrompt="1"/>
            <p:custDataLst>
              <p:tags r:id="rId5"/>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bg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40648376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8A7E8E1E-80F1-4D14-92AD-5C771DE39557}"/>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48021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934388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CF344B88-CFB2-4F54-A9C2-A9EE8C045653}"/>
              </a:ext>
            </a:extLst>
          </p:cNvPr>
          <p:cNvGrpSpPr/>
          <p:nvPr userDrawn="1"/>
        </p:nvGrpSpPr>
        <p:grpSpPr>
          <a:xfrm>
            <a:off x="9318251" y="6528816"/>
            <a:ext cx="2033975" cy="256591"/>
            <a:chOff x="9596444" y="6528816"/>
            <a:chExt cx="2033975" cy="256591"/>
          </a:xfrm>
        </p:grpSpPr>
        <p:grpSp>
          <p:nvGrpSpPr>
            <p:cNvPr id="24" name="Group 23">
              <a:extLst>
                <a:ext uri="{FF2B5EF4-FFF2-40B4-BE49-F238E27FC236}">
                  <a16:creationId xmlns:a16="http://schemas.microsoft.com/office/drawing/2014/main" id="{C856E032-DA30-4E56-818D-3995E1EEDB8B}"/>
                </a:ext>
              </a:extLst>
            </p:cNvPr>
            <p:cNvGrpSpPr/>
            <p:nvPr userDrawn="1"/>
          </p:nvGrpSpPr>
          <p:grpSpPr>
            <a:xfrm>
              <a:off x="10651738" y="6560134"/>
              <a:ext cx="978681" cy="225273"/>
              <a:chOff x="10651738" y="6560134"/>
              <a:chExt cx="978681" cy="225273"/>
            </a:xfrm>
          </p:grpSpPr>
          <p:sp>
            <p:nvSpPr>
              <p:cNvPr id="28" name="Freeform: Shape 27">
                <a:extLst>
                  <a:ext uri="{FF2B5EF4-FFF2-40B4-BE49-F238E27FC236}">
                    <a16:creationId xmlns:a16="http://schemas.microsoft.com/office/drawing/2014/main" id="{71937DF7-DD62-4521-A308-071887D8557C}"/>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Shape 28">
                <a:extLst>
                  <a:ext uri="{FF2B5EF4-FFF2-40B4-BE49-F238E27FC236}">
                    <a16:creationId xmlns:a16="http://schemas.microsoft.com/office/drawing/2014/main" id="{6A200275-973C-4A73-A6D0-FEF29EE4035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AA044FDC-1746-4D57-AC6C-E56D1873F60B}"/>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F70086AE-48A6-43F6-8F8B-503A0B2ED1D0}"/>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1B7D61B6-EC2D-4FFB-A0A6-B9EDD52AA21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24B584F7-82DA-4FD2-B91B-12D12BEBF6F1}"/>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69870757-3722-4A95-B868-972F108BE475}"/>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B94D11B1-564A-4C58-913D-1D3857E8F133}"/>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50E6DE9E-BC59-487C-8BAE-504001D18C35}"/>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5E3C966A-2B1C-48BD-8AC6-9410C2BD60B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F4B201C3-C75A-42A6-B093-60AEC213BFF3}"/>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AC1AEAE6-2500-4563-8397-1A082277C804}"/>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8E57E006-D8C8-4B1C-8A64-1834D2F46117}"/>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0D47E37B-F483-4A39-BB1C-369691B46C53}"/>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2C2EFB4B-027A-41C3-9E20-08F0F5F5D46D}"/>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1DCD7289-6972-4FE2-8589-475B80CE68C2}"/>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2A27D63A-AE45-4DA1-A631-07932BB075AA}"/>
                </a:ext>
              </a:extLst>
            </p:cNvPr>
            <p:cNvPicPr>
              <a:picLocks noChangeAspect="1" noChangeArrowheads="1"/>
            </p:cNvPicPr>
            <p:nvPr userDrawn="1"/>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2" name="Slide Number">
            <a:extLst>
              <a:ext uri="{FF2B5EF4-FFF2-40B4-BE49-F238E27FC236}">
                <a16:creationId xmlns:a16="http://schemas.microsoft.com/office/drawing/2014/main" id="{E8DC8191-35A1-40C7-9E00-C0E35659E428}"/>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10946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47838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81157EB5-EBC9-4B03-BEB2-1726DBAF415D}"/>
              </a:ext>
            </a:extLst>
          </p:cNvPr>
          <p:cNvGrpSpPr/>
          <p:nvPr userDrawn="1"/>
        </p:nvGrpSpPr>
        <p:grpSpPr>
          <a:xfrm>
            <a:off x="9318251" y="6528816"/>
            <a:ext cx="2033975" cy="256591"/>
            <a:chOff x="9596444" y="6528816"/>
            <a:chExt cx="2033975" cy="256591"/>
          </a:xfrm>
        </p:grpSpPr>
        <p:grpSp>
          <p:nvGrpSpPr>
            <p:cNvPr id="24" name="Group 23">
              <a:extLst>
                <a:ext uri="{FF2B5EF4-FFF2-40B4-BE49-F238E27FC236}">
                  <a16:creationId xmlns:a16="http://schemas.microsoft.com/office/drawing/2014/main" id="{CF8A441C-F488-44F8-8141-7DF227A9E5EE}"/>
                </a:ext>
              </a:extLst>
            </p:cNvPr>
            <p:cNvGrpSpPr/>
            <p:nvPr userDrawn="1"/>
          </p:nvGrpSpPr>
          <p:grpSpPr>
            <a:xfrm>
              <a:off x="10651738" y="6560134"/>
              <a:ext cx="978681" cy="225273"/>
              <a:chOff x="10651738" y="6560134"/>
              <a:chExt cx="978681" cy="225273"/>
            </a:xfrm>
          </p:grpSpPr>
          <p:sp>
            <p:nvSpPr>
              <p:cNvPr id="28" name="Freeform: Shape 27">
                <a:extLst>
                  <a:ext uri="{FF2B5EF4-FFF2-40B4-BE49-F238E27FC236}">
                    <a16:creationId xmlns:a16="http://schemas.microsoft.com/office/drawing/2014/main" id="{FA3665D8-A754-461F-8E2F-485699B1027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Shape 28">
                <a:extLst>
                  <a:ext uri="{FF2B5EF4-FFF2-40B4-BE49-F238E27FC236}">
                    <a16:creationId xmlns:a16="http://schemas.microsoft.com/office/drawing/2014/main" id="{CC414BA0-1D94-4654-B002-4D84E0C8309A}"/>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C49C0724-35D6-4F17-9C4E-E720701F676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4767D088-15F7-4E4B-8845-1B12768EB3B6}"/>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983717DC-9087-4479-999F-77497D4AC752}"/>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C5161228-DC33-4A52-84C0-BF5A01C295A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B2708EC4-5793-4757-880D-4B764DBC24A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F3B8DC42-F558-4813-8C88-C98CFA99FD35}"/>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3B147320-B338-4662-98FE-D8C2AED584D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2A90295E-C33E-4FCC-AB9F-0C3B73DB8017}"/>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5E1DEEF0-C082-4BBD-B169-9563E3635A7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31667004-8A1D-46C3-A90A-A27165535271}"/>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8EB9216A-3351-4135-8CBC-E111A88374EA}"/>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09F92102-5AFB-450E-8F3B-95A0AD827CF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15A6E331-B3FC-4DE0-9C3A-F2B657F21890}"/>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B2F1F23C-6F83-4D7E-8CB1-8752F584EDA7}"/>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BD0A9E1-D9D9-4685-8B23-A78AA19BEC0F}"/>
                </a:ext>
              </a:extLst>
            </p:cNvPr>
            <p:cNvPicPr>
              <a:picLocks noChangeAspect="1" noChangeArrowheads="1"/>
            </p:cNvPicPr>
            <p:nvPr userDrawn="1"/>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2" name="Slide Number">
            <a:extLst>
              <a:ext uri="{FF2B5EF4-FFF2-40B4-BE49-F238E27FC236}">
                <a16:creationId xmlns:a16="http://schemas.microsoft.com/office/drawing/2014/main" id="{90E79786-5483-4413-976C-1E4DF393C163}"/>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134825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425658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8EA64416-EAAC-4B4D-8BA2-E2DF4AF2F57D}"/>
              </a:ext>
            </a:extLst>
          </p:cNvPr>
          <p:cNvGrpSpPr/>
          <p:nvPr userDrawn="1"/>
        </p:nvGrpSpPr>
        <p:grpSpPr>
          <a:xfrm>
            <a:off x="9318251" y="6528816"/>
            <a:ext cx="2033975" cy="256591"/>
            <a:chOff x="9596444" y="6528816"/>
            <a:chExt cx="2033975" cy="256591"/>
          </a:xfrm>
        </p:grpSpPr>
        <p:grpSp>
          <p:nvGrpSpPr>
            <p:cNvPr id="24" name="Group 23">
              <a:extLst>
                <a:ext uri="{FF2B5EF4-FFF2-40B4-BE49-F238E27FC236}">
                  <a16:creationId xmlns:a16="http://schemas.microsoft.com/office/drawing/2014/main" id="{55A10360-EE52-486F-966A-1BE63B0B2B8F}"/>
                </a:ext>
              </a:extLst>
            </p:cNvPr>
            <p:cNvGrpSpPr/>
            <p:nvPr userDrawn="1"/>
          </p:nvGrpSpPr>
          <p:grpSpPr>
            <a:xfrm>
              <a:off x="10651738" y="6560134"/>
              <a:ext cx="978681" cy="225273"/>
              <a:chOff x="10651738" y="6560134"/>
              <a:chExt cx="978681" cy="225273"/>
            </a:xfrm>
          </p:grpSpPr>
          <p:sp>
            <p:nvSpPr>
              <p:cNvPr id="28" name="Freeform: Shape 27">
                <a:extLst>
                  <a:ext uri="{FF2B5EF4-FFF2-40B4-BE49-F238E27FC236}">
                    <a16:creationId xmlns:a16="http://schemas.microsoft.com/office/drawing/2014/main" id="{0C3242F6-524F-4A5F-BB15-38C2CE1B72E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Shape 28">
                <a:extLst>
                  <a:ext uri="{FF2B5EF4-FFF2-40B4-BE49-F238E27FC236}">
                    <a16:creationId xmlns:a16="http://schemas.microsoft.com/office/drawing/2014/main" id="{C114F346-D552-4CB1-8610-8BB3ED18198F}"/>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15180151-1FAA-437B-AE53-17906E4112C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30605341-C154-46B6-B216-927A571E51A6}"/>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350254F2-4B45-4F37-9825-23735A9FBA00}"/>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F9EE4A3C-9017-438E-9926-FD4AB05A11E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2DEAC5E7-764F-4194-9481-73A249E02730}"/>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FBC9E168-A2CE-4165-B7D1-907543E44383}"/>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D7D7903E-416A-41DB-A813-99DD5ED13D0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37B93E2B-3A60-426F-B8E0-84655B30CC60}"/>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3AEF86F5-CBE2-4C56-9F9E-3CF5432CABAE}"/>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03BA13FB-C34C-4806-A00D-32DD08F7575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24B90B9B-FA23-4BD0-B941-9EDA36F233BD}"/>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022D1130-984D-4795-8C43-200CAE970C0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04B557A9-2F77-4BD3-ABE6-A5AB91278D00}"/>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3CF6591A-1A44-4513-8786-A159F7DA251E}"/>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C25E4D6E-8B6A-4B05-B0EA-557E8619CA14}"/>
                </a:ext>
              </a:extLst>
            </p:cNvPr>
            <p:cNvPicPr>
              <a:picLocks noChangeAspect="1" noChangeArrowheads="1"/>
            </p:cNvPicPr>
            <p:nvPr userDrawn="1"/>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2" name="Slide Number">
            <a:extLst>
              <a:ext uri="{FF2B5EF4-FFF2-40B4-BE49-F238E27FC236}">
                <a16:creationId xmlns:a16="http://schemas.microsoft.com/office/drawing/2014/main" id="{0B506863-A197-4993-B99E-2DC3F5060946}"/>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8515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5102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E0943F90-B04B-47AA-A43B-22D1A845C754}"/>
              </a:ext>
            </a:extLst>
          </p:cNvPr>
          <p:cNvGrpSpPr/>
          <p:nvPr userDrawn="1"/>
        </p:nvGrpSpPr>
        <p:grpSpPr>
          <a:xfrm>
            <a:off x="9318251" y="6528816"/>
            <a:ext cx="2033975" cy="256591"/>
            <a:chOff x="9596444" y="6528816"/>
            <a:chExt cx="2033975" cy="256591"/>
          </a:xfrm>
        </p:grpSpPr>
        <p:grpSp>
          <p:nvGrpSpPr>
            <p:cNvPr id="24" name="Group 23">
              <a:extLst>
                <a:ext uri="{FF2B5EF4-FFF2-40B4-BE49-F238E27FC236}">
                  <a16:creationId xmlns:a16="http://schemas.microsoft.com/office/drawing/2014/main" id="{C5A1FCF1-D6F8-44C5-9C1E-5E4088CB2376}"/>
                </a:ext>
              </a:extLst>
            </p:cNvPr>
            <p:cNvGrpSpPr/>
            <p:nvPr userDrawn="1"/>
          </p:nvGrpSpPr>
          <p:grpSpPr>
            <a:xfrm>
              <a:off x="10651738" y="6560134"/>
              <a:ext cx="978681" cy="225273"/>
              <a:chOff x="10651738" y="6560134"/>
              <a:chExt cx="978681" cy="225273"/>
            </a:xfrm>
          </p:grpSpPr>
          <p:sp>
            <p:nvSpPr>
              <p:cNvPr id="28" name="Freeform: Shape 27">
                <a:extLst>
                  <a:ext uri="{FF2B5EF4-FFF2-40B4-BE49-F238E27FC236}">
                    <a16:creationId xmlns:a16="http://schemas.microsoft.com/office/drawing/2014/main" id="{60990FB8-0DBB-402F-BD07-B65189597C10}"/>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Shape 28">
                <a:extLst>
                  <a:ext uri="{FF2B5EF4-FFF2-40B4-BE49-F238E27FC236}">
                    <a16:creationId xmlns:a16="http://schemas.microsoft.com/office/drawing/2014/main" id="{6FB6DCB4-567A-4182-B7AF-1E83CEB56F0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70874875-3284-482C-9F02-19993A9BFB49}"/>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6AA3A84E-15D0-4267-844E-92A846D3BAEF}"/>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EC8934F3-81F0-45D1-B0A9-132AE3751B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27104F26-022C-441C-9596-C3729C13D362}"/>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56085FB5-DAFB-48FC-9183-004107C97D45}"/>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C7E0EA2D-9F4E-4F41-905A-966F3D7E7F2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C6B2193B-E909-4949-B960-8D9FA4C291CE}"/>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64F0D269-17C0-4453-B0FA-A497148C06A7}"/>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9F0F6BE5-F64D-4C5F-AAF2-005CA4D47A0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CE3BE645-1C6B-4131-8D26-36D13319EB60}"/>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8DC42E92-2B74-429E-B508-0D2B2F15E617}"/>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9807F7D4-20CB-47AE-A370-DE2AFFC4EC58}"/>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41B162CF-3410-4FDE-8599-5853F5A9929E}"/>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A27C1EE2-7C72-4C19-936E-5BF54CD3175C}"/>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90D736C1-7CF8-4CA9-BCBD-AE551F079F9D}"/>
                </a:ext>
              </a:extLst>
            </p:cNvPr>
            <p:cNvPicPr>
              <a:picLocks noChangeAspect="1" noChangeArrowheads="1"/>
            </p:cNvPicPr>
            <p:nvPr userDrawn="1"/>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2" name="Slide Number">
            <a:extLst>
              <a:ext uri="{FF2B5EF4-FFF2-40B4-BE49-F238E27FC236}">
                <a16:creationId xmlns:a16="http://schemas.microsoft.com/office/drawing/2014/main" id="{125049F8-387C-4851-8911-1FF2627ED81F}"/>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335736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985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D612C52D-8161-4F9B-A219-30C1995E551F}"/>
              </a:ext>
            </a:extLst>
          </p:cNvPr>
          <p:cNvGrpSpPr/>
          <p:nvPr userDrawn="1"/>
        </p:nvGrpSpPr>
        <p:grpSpPr>
          <a:xfrm>
            <a:off x="9318251" y="6528816"/>
            <a:ext cx="2033975" cy="256591"/>
            <a:chOff x="9596444" y="6528816"/>
            <a:chExt cx="2033975" cy="256591"/>
          </a:xfrm>
        </p:grpSpPr>
        <p:grpSp>
          <p:nvGrpSpPr>
            <p:cNvPr id="25" name="Group 24">
              <a:extLst>
                <a:ext uri="{FF2B5EF4-FFF2-40B4-BE49-F238E27FC236}">
                  <a16:creationId xmlns:a16="http://schemas.microsoft.com/office/drawing/2014/main" id="{3724E490-C849-48AB-9EAE-55D9B6CF04D7}"/>
                </a:ext>
              </a:extLst>
            </p:cNvPr>
            <p:cNvGrpSpPr/>
            <p:nvPr userDrawn="1"/>
          </p:nvGrpSpPr>
          <p:grpSpPr>
            <a:xfrm>
              <a:off x="10651738" y="6560134"/>
              <a:ext cx="978681" cy="225273"/>
              <a:chOff x="10651738" y="6560134"/>
              <a:chExt cx="978681" cy="225273"/>
            </a:xfrm>
          </p:grpSpPr>
          <p:sp>
            <p:nvSpPr>
              <p:cNvPr id="29" name="Freeform: Shape 28">
                <a:extLst>
                  <a:ext uri="{FF2B5EF4-FFF2-40B4-BE49-F238E27FC236}">
                    <a16:creationId xmlns:a16="http://schemas.microsoft.com/office/drawing/2014/main" id="{9E873FE6-E0C2-4782-B9EF-DC7CA7680F12}"/>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0F083A57-E712-4C8C-9A13-3319C8339070}"/>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83FA108F-FBE2-41F4-A8CA-F85A541F7FFF}"/>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A0BBA219-54B1-46DF-AF51-8F9DBB5B0461}"/>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F65895B6-BE0F-48EB-ACD7-52700A1E0AC2}"/>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EFC3D7ED-B407-4AC7-AE67-8530D0A44B7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768C61C6-79DA-4B81-9B98-1C175D19DDF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5AD0801F-B735-49B3-B208-C13FB6167DD1}"/>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17B112BF-ABF0-4085-BD48-01D5B4680D47}"/>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910ED2DA-74FE-4A20-AA31-BCB7D0D7ED94}"/>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6200244F-4E0C-4C56-8B4E-76977C90EAC8}"/>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03236483-1CCA-4773-ACDF-D7D006772D0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7D9347A2-878C-4D82-ADC0-C823BAF5D48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Shape 41">
                <a:extLst>
                  <a:ext uri="{FF2B5EF4-FFF2-40B4-BE49-F238E27FC236}">
                    <a16:creationId xmlns:a16="http://schemas.microsoft.com/office/drawing/2014/main" id="{991785D6-502B-4581-B1AC-253011158F6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188570B9-FAC9-4704-AB3C-D74C02634078}"/>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090682A-85F7-48D6-8CC9-BB07D6F0E66A}"/>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1A8F94C8-55F0-44A0-B690-EEBE4989592F}"/>
                </a:ext>
              </a:extLst>
            </p:cNvPr>
            <p:cNvPicPr>
              <a:picLocks noChangeAspect="1" noChangeArrowheads="1"/>
            </p:cNvPicPr>
            <p:nvPr userDrawn="1"/>
          </p:nvPicPr>
          <p:blipFill rotWithShape="1">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104227-70A5-4A0A-A504-9EF8C444A614}"/>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447170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93044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grpSp>
        <p:nvGrpSpPr>
          <p:cNvPr id="5" name="Group 4">
            <a:extLst>
              <a:ext uri="{FF2B5EF4-FFF2-40B4-BE49-F238E27FC236}">
                <a16:creationId xmlns:a16="http://schemas.microsoft.com/office/drawing/2014/main" id="{43084763-02B7-4585-B342-4BFEE75D9F84}"/>
              </a:ext>
            </a:extLst>
          </p:cNvPr>
          <p:cNvGrpSpPr/>
          <p:nvPr userDrawn="1"/>
        </p:nvGrpSpPr>
        <p:grpSpPr>
          <a:xfrm>
            <a:off x="9318251" y="6528816"/>
            <a:ext cx="2033975" cy="256591"/>
            <a:chOff x="9596444" y="6528816"/>
            <a:chExt cx="2033975" cy="256591"/>
          </a:xfrm>
        </p:grpSpPr>
        <p:sp>
          <p:nvSpPr>
            <p:cNvPr id="44" name="Freeform: Shape 43">
              <a:extLst>
                <a:ext uri="{FF2B5EF4-FFF2-40B4-BE49-F238E27FC236}">
                  <a16:creationId xmlns:a16="http://schemas.microsoft.com/office/drawing/2014/main" id="{3A689FB0-6110-4710-8563-DBA7CFFFDD1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0" name="Freeform: Shape 49">
              <a:extLst>
                <a:ext uri="{FF2B5EF4-FFF2-40B4-BE49-F238E27FC236}">
                  <a16:creationId xmlns:a16="http://schemas.microsoft.com/office/drawing/2014/main" id="{867B40F5-E4AA-4416-BCEA-3DE1CFDC21A0}"/>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1" name="Freeform: Shape 50">
              <a:extLst>
                <a:ext uri="{FF2B5EF4-FFF2-40B4-BE49-F238E27FC236}">
                  <a16:creationId xmlns:a16="http://schemas.microsoft.com/office/drawing/2014/main" id="{52DDCDD8-5191-4DDB-AE3A-DB01CFEB2B36}"/>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2" name="Freeform: Shape 51">
              <a:extLst>
                <a:ext uri="{FF2B5EF4-FFF2-40B4-BE49-F238E27FC236}">
                  <a16:creationId xmlns:a16="http://schemas.microsoft.com/office/drawing/2014/main" id="{EAF9723B-D35D-4A6A-A803-C523AF68E920}"/>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3" name="Freeform: Shape 52">
              <a:extLst>
                <a:ext uri="{FF2B5EF4-FFF2-40B4-BE49-F238E27FC236}">
                  <a16:creationId xmlns:a16="http://schemas.microsoft.com/office/drawing/2014/main" id="{6C769BC5-E7AC-4ACA-8A6E-E0A3D6CE3389}"/>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 name="Freeform: Shape 53">
              <a:extLst>
                <a:ext uri="{FF2B5EF4-FFF2-40B4-BE49-F238E27FC236}">
                  <a16:creationId xmlns:a16="http://schemas.microsoft.com/office/drawing/2014/main" id="{3396A7F9-BDEC-44B6-9D0E-D5818C684CE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 name="Freeform: Shape 54">
              <a:extLst>
                <a:ext uri="{FF2B5EF4-FFF2-40B4-BE49-F238E27FC236}">
                  <a16:creationId xmlns:a16="http://schemas.microsoft.com/office/drawing/2014/main" id="{1B602EF4-D8D2-4880-9FD5-295D0817C33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6" name="Freeform: Shape 55">
              <a:extLst>
                <a:ext uri="{FF2B5EF4-FFF2-40B4-BE49-F238E27FC236}">
                  <a16:creationId xmlns:a16="http://schemas.microsoft.com/office/drawing/2014/main" id="{A265E6B8-F950-4226-A5E0-7895F0A5B9EA}"/>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7" name="Freeform: Shape 56">
              <a:extLst>
                <a:ext uri="{FF2B5EF4-FFF2-40B4-BE49-F238E27FC236}">
                  <a16:creationId xmlns:a16="http://schemas.microsoft.com/office/drawing/2014/main" id="{8497C9A5-7835-471F-94C9-1A1B3A0D4459}"/>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8" name="Freeform: Shape 57">
              <a:extLst>
                <a:ext uri="{FF2B5EF4-FFF2-40B4-BE49-F238E27FC236}">
                  <a16:creationId xmlns:a16="http://schemas.microsoft.com/office/drawing/2014/main" id="{5D9A30AB-0FBB-4180-9AFC-ED85D8BBBDF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 name="Freeform: Shape 58">
              <a:extLst>
                <a:ext uri="{FF2B5EF4-FFF2-40B4-BE49-F238E27FC236}">
                  <a16:creationId xmlns:a16="http://schemas.microsoft.com/office/drawing/2014/main" id="{67F2E02A-D1D5-4341-A710-A6978CD69338}"/>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 name="Freeform: Shape 59">
              <a:extLst>
                <a:ext uri="{FF2B5EF4-FFF2-40B4-BE49-F238E27FC236}">
                  <a16:creationId xmlns:a16="http://schemas.microsoft.com/office/drawing/2014/main" id="{C919AB1E-66AD-4F30-BAEA-6E95E608F634}"/>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 name="Freeform: Shape 60">
              <a:extLst>
                <a:ext uri="{FF2B5EF4-FFF2-40B4-BE49-F238E27FC236}">
                  <a16:creationId xmlns:a16="http://schemas.microsoft.com/office/drawing/2014/main" id="{B30729C7-9339-4F0A-A4B2-FF7B0A1F93B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 name="Freeform: Shape 61">
              <a:extLst>
                <a:ext uri="{FF2B5EF4-FFF2-40B4-BE49-F238E27FC236}">
                  <a16:creationId xmlns:a16="http://schemas.microsoft.com/office/drawing/2014/main" id="{651277EE-9C78-4314-8A88-4DA19795E66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48" name="Picture 47" descr="Michigan among top 10 pro-business states, named most improved state in  CNBC rankings | Economic development, Pure michigan, Michigan">
              <a:extLst>
                <a:ext uri="{FF2B5EF4-FFF2-40B4-BE49-F238E27FC236}">
                  <a16:creationId xmlns:a16="http://schemas.microsoft.com/office/drawing/2014/main" id="{97090A71-17CC-4808-BD04-EBDAAC02302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9" name="Picture 48" descr="Michigan among top 10 pro-business states, named most improved state in  CNBC rankings | Economic development, Pure michigan, Michigan">
              <a:extLst>
                <a:ext uri="{FF2B5EF4-FFF2-40B4-BE49-F238E27FC236}">
                  <a16:creationId xmlns:a16="http://schemas.microsoft.com/office/drawing/2014/main" id="{062FFDCD-1C2D-4771-BF29-6C8197BA7BDF}"/>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30807" r="52037" b="49245"/>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7" name="Picture 46" descr="Michigan among top 10 pro-business states, named most improved state in  CNBC rankings | Economic development, Pure michigan, Michigan">
              <a:extLst>
                <a:ext uri="{FF2B5EF4-FFF2-40B4-BE49-F238E27FC236}">
                  <a16:creationId xmlns:a16="http://schemas.microsoft.com/office/drawing/2014/main" id="{98045E2B-4468-4806-A212-9A3B3C5D917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28" name="Slide Number">
            <a:extLst>
              <a:ext uri="{FF2B5EF4-FFF2-40B4-BE49-F238E27FC236}">
                <a16:creationId xmlns:a16="http://schemas.microsoft.com/office/drawing/2014/main" id="{2BF7871C-383E-427A-91D5-FC84CCE850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343895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64959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4"/>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63" name="Group 62">
            <a:extLst>
              <a:ext uri="{FF2B5EF4-FFF2-40B4-BE49-F238E27FC236}">
                <a16:creationId xmlns:a16="http://schemas.microsoft.com/office/drawing/2014/main" id="{613C57B8-2385-4BA8-913E-307B7AF4CEF2}"/>
              </a:ext>
            </a:extLst>
          </p:cNvPr>
          <p:cNvGrpSpPr/>
          <p:nvPr userDrawn="1"/>
        </p:nvGrpSpPr>
        <p:grpSpPr>
          <a:xfrm>
            <a:off x="9318251" y="6528816"/>
            <a:ext cx="2033975" cy="256591"/>
            <a:chOff x="9596444" y="6528816"/>
            <a:chExt cx="2033975" cy="256591"/>
          </a:xfrm>
        </p:grpSpPr>
        <p:sp>
          <p:nvSpPr>
            <p:cNvPr id="64" name="Freeform: Shape 63">
              <a:extLst>
                <a:ext uri="{FF2B5EF4-FFF2-40B4-BE49-F238E27FC236}">
                  <a16:creationId xmlns:a16="http://schemas.microsoft.com/office/drawing/2014/main" id="{9DD5226C-61BB-4614-BA95-C344B0729B4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 name="Freeform: Shape 64">
              <a:extLst>
                <a:ext uri="{FF2B5EF4-FFF2-40B4-BE49-F238E27FC236}">
                  <a16:creationId xmlns:a16="http://schemas.microsoft.com/office/drawing/2014/main" id="{E3A0B74D-4BE0-48C1-AB72-9BE6C47139E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 name="Freeform: Shape 65">
              <a:extLst>
                <a:ext uri="{FF2B5EF4-FFF2-40B4-BE49-F238E27FC236}">
                  <a16:creationId xmlns:a16="http://schemas.microsoft.com/office/drawing/2014/main" id="{A30DF998-4C87-472B-B023-A3BA051B0DF3}"/>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 name="Freeform: Shape 66">
              <a:extLst>
                <a:ext uri="{FF2B5EF4-FFF2-40B4-BE49-F238E27FC236}">
                  <a16:creationId xmlns:a16="http://schemas.microsoft.com/office/drawing/2014/main" id="{DA6B9433-3C13-4270-992C-46E7EF0B572E}"/>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 name="Freeform: Shape 67">
              <a:extLst>
                <a:ext uri="{FF2B5EF4-FFF2-40B4-BE49-F238E27FC236}">
                  <a16:creationId xmlns:a16="http://schemas.microsoft.com/office/drawing/2014/main" id="{0767D1D5-E92A-46A6-9030-E2B98502C55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 name="Freeform: Shape 68">
              <a:extLst>
                <a:ext uri="{FF2B5EF4-FFF2-40B4-BE49-F238E27FC236}">
                  <a16:creationId xmlns:a16="http://schemas.microsoft.com/office/drawing/2014/main" id="{40B693AB-CCE9-4926-9F7D-F7CC39F23A3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 name="Freeform: Shape 69">
              <a:extLst>
                <a:ext uri="{FF2B5EF4-FFF2-40B4-BE49-F238E27FC236}">
                  <a16:creationId xmlns:a16="http://schemas.microsoft.com/office/drawing/2014/main" id="{559B0EBC-BD49-4B69-BC21-5E2979C4C3DA}"/>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 name="Freeform: Shape 70">
              <a:extLst>
                <a:ext uri="{FF2B5EF4-FFF2-40B4-BE49-F238E27FC236}">
                  <a16:creationId xmlns:a16="http://schemas.microsoft.com/office/drawing/2014/main" id="{D8D445A0-D0C2-40E4-886B-AE474402E860}"/>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 name="Freeform: Shape 71">
              <a:extLst>
                <a:ext uri="{FF2B5EF4-FFF2-40B4-BE49-F238E27FC236}">
                  <a16:creationId xmlns:a16="http://schemas.microsoft.com/office/drawing/2014/main" id="{9CA3BEAD-5A8F-47DD-9C4F-F2B0DD9B0E9F}"/>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 name="Freeform: Shape 72">
              <a:extLst>
                <a:ext uri="{FF2B5EF4-FFF2-40B4-BE49-F238E27FC236}">
                  <a16:creationId xmlns:a16="http://schemas.microsoft.com/office/drawing/2014/main" id="{DC8F3958-4EE2-4547-A757-82A36395980C}"/>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 name="Freeform: Shape 73">
              <a:extLst>
                <a:ext uri="{FF2B5EF4-FFF2-40B4-BE49-F238E27FC236}">
                  <a16:creationId xmlns:a16="http://schemas.microsoft.com/office/drawing/2014/main" id="{6B786E11-F5BE-4BB0-84B3-1C85F02FF01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 name="Freeform: Shape 74">
              <a:extLst>
                <a:ext uri="{FF2B5EF4-FFF2-40B4-BE49-F238E27FC236}">
                  <a16:creationId xmlns:a16="http://schemas.microsoft.com/office/drawing/2014/main" id="{29351F6A-659D-45C7-B8DF-0E66BE5791BB}"/>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 name="Freeform: Shape 75">
              <a:extLst>
                <a:ext uri="{FF2B5EF4-FFF2-40B4-BE49-F238E27FC236}">
                  <a16:creationId xmlns:a16="http://schemas.microsoft.com/office/drawing/2014/main" id="{D033BDF1-CE4C-48B2-97EA-0EAFCA5D44D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 name="Freeform: Shape 76">
              <a:extLst>
                <a:ext uri="{FF2B5EF4-FFF2-40B4-BE49-F238E27FC236}">
                  <a16:creationId xmlns:a16="http://schemas.microsoft.com/office/drawing/2014/main" id="{DEBAC30C-94EC-4987-BEB5-B8667D5BE3A8}"/>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78" name="Picture 77" descr="Michigan among top 10 pro-business states, named most improved state in  CNBC rankings | Economic development, Pure michigan, Michigan">
              <a:extLst>
                <a:ext uri="{FF2B5EF4-FFF2-40B4-BE49-F238E27FC236}">
                  <a16:creationId xmlns:a16="http://schemas.microsoft.com/office/drawing/2014/main" id="{52DCD544-0F0B-4256-BB6B-BB41B78723D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79" name="Picture 78" descr="Michigan among top 10 pro-business states, named most improved state in  CNBC rankings | Economic development, Pure michigan, Michigan">
              <a:extLst>
                <a:ext uri="{FF2B5EF4-FFF2-40B4-BE49-F238E27FC236}">
                  <a16:creationId xmlns:a16="http://schemas.microsoft.com/office/drawing/2014/main" id="{C831E9B1-9862-4AA9-8B5A-D9EBCFC6BD86}"/>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30807" r="52037" b="49245"/>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80" name="Picture 79" descr="Michigan among top 10 pro-business states, named most improved state in  CNBC rankings | Economic development, Pure michigan, Michigan">
              <a:extLst>
                <a:ext uri="{FF2B5EF4-FFF2-40B4-BE49-F238E27FC236}">
                  <a16:creationId xmlns:a16="http://schemas.microsoft.com/office/drawing/2014/main" id="{AAEA54DC-F44D-4844-B4F1-9155F6CF19AF}"/>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28" name="Slide Number">
            <a:extLst>
              <a:ext uri="{FF2B5EF4-FFF2-40B4-BE49-F238E27FC236}">
                <a16:creationId xmlns:a16="http://schemas.microsoft.com/office/drawing/2014/main" id="{B4323350-66B6-458B-857F-B95BCE5D2C2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9165185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30536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44" name="Group 43">
            <a:extLst>
              <a:ext uri="{FF2B5EF4-FFF2-40B4-BE49-F238E27FC236}">
                <a16:creationId xmlns:a16="http://schemas.microsoft.com/office/drawing/2014/main" id="{E42B9F5C-8E81-4D58-82F3-F54BC28AFDF1}"/>
              </a:ext>
            </a:extLst>
          </p:cNvPr>
          <p:cNvGrpSpPr/>
          <p:nvPr userDrawn="1"/>
        </p:nvGrpSpPr>
        <p:grpSpPr>
          <a:xfrm>
            <a:off x="9318251" y="6528816"/>
            <a:ext cx="2033975" cy="256591"/>
            <a:chOff x="9596444" y="6528816"/>
            <a:chExt cx="2033975" cy="256591"/>
          </a:xfrm>
        </p:grpSpPr>
        <p:sp>
          <p:nvSpPr>
            <p:cNvPr id="45" name="Freeform: Shape 44">
              <a:extLst>
                <a:ext uri="{FF2B5EF4-FFF2-40B4-BE49-F238E27FC236}">
                  <a16:creationId xmlns:a16="http://schemas.microsoft.com/office/drawing/2014/main" id="{C5022685-9084-4FC3-A800-43F9049455BF}"/>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Freeform: Shape 45">
              <a:extLst>
                <a:ext uri="{FF2B5EF4-FFF2-40B4-BE49-F238E27FC236}">
                  <a16:creationId xmlns:a16="http://schemas.microsoft.com/office/drawing/2014/main" id="{C135D624-97F2-45BC-AF12-3C86165E6D61}"/>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7" name="Freeform: Shape 46">
              <a:extLst>
                <a:ext uri="{FF2B5EF4-FFF2-40B4-BE49-F238E27FC236}">
                  <a16:creationId xmlns:a16="http://schemas.microsoft.com/office/drawing/2014/main" id="{DBF85762-10AD-4676-A996-862469C74BD2}"/>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8" name="Freeform: Shape 47">
              <a:extLst>
                <a:ext uri="{FF2B5EF4-FFF2-40B4-BE49-F238E27FC236}">
                  <a16:creationId xmlns:a16="http://schemas.microsoft.com/office/drawing/2014/main" id="{C02E4D6A-1E37-4820-9AE4-C77487B81F7F}"/>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48">
              <a:extLst>
                <a:ext uri="{FF2B5EF4-FFF2-40B4-BE49-F238E27FC236}">
                  <a16:creationId xmlns:a16="http://schemas.microsoft.com/office/drawing/2014/main" id="{5042A1C5-8878-4A3A-8867-5AF414B77B68}"/>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0" name="Freeform: Shape 49">
              <a:extLst>
                <a:ext uri="{FF2B5EF4-FFF2-40B4-BE49-F238E27FC236}">
                  <a16:creationId xmlns:a16="http://schemas.microsoft.com/office/drawing/2014/main" id="{72CAA52F-19A5-43A5-90C1-EF42BD58CC9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1" name="Freeform: Shape 50">
              <a:extLst>
                <a:ext uri="{FF2B5EF4-FFF2-40B4-BE49-F238E27FC236}">
                  <a16:creationId xmlns:a16="http://schemas.microsoft.com/office/drawing/2014/main" id="{9D71F946-5959-42A7-BFEE-0A45CE9CA0A2}"/>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2" name="Freeform: Shape 51">
              <a:extLst>
                <a:ext uri="{FF2B5EF4-FFF2-40B4-BE49-F238E27FC236}">
                  <a16:creationId xmlns:a16="http://schemas.microsoft.com/office/drawing/2014/main" id="{BBBC1868-4C5C-46B0-A23D-469C5806C8E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3" name="Freeform: Shape 52">
              <a:extLst>
                <a:ext uri="{FF2B5EF4-FFF2-40B4-BE49-F238E27FC236}">
                  <a16:creationId xmlns:a16="http://schemas.microsoft.com/office/drawing/2014/main" id="{2A8FA14A-EEE1-43B2-8110-952F5EA080F7}"/>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 name="Freeform: Shape 53">
              <a:extLst>
                <a:ext uri="{FF2B5EF4-FFF2-40B4-BE49-F238E27FC236}">
                  <a16:creationId xmlns:a16="http://schemas.microsoft.com/office/drawing/2014/main" id="{66707DF6-80AD-4CE3-AC26-F91A4D2AA9D5}"/>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 name="Freeform: Shape 54">
              <a:extLst>
                <a:ext uri="{FF2B5EF4-FFF2-40B4-BE49-F238E27FC236}">
                  <a16:creationId xmlns:a16="http://schemas.microsoft.com/office/drawing/2014/main" id="{0F9B70C9-DE44-49C7-AA51-DD32F1A84134}"/>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6" name="Freeform: Shape 55">
              <a:extLst>
                <a:ext uri="{FF2B5EF4-FFF2-40B4-BE49-F238E27FC236}">
                  <a16:creationId xmlns:a16="http://schemas.microsoft.com/office/drawing/2014/main" id="{DC306FEA-9069-44C5-ABC9-BFEF8938787B}"/>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7" name="Freeform: Shape 56">
              <a:extLst>
                <a:ext uri="{FF2B5EF4-FFF2-40B4-BE49-F238E27FC236}">
                  <a16:creationId xmlns:a16="http://schemas.microsoft.com/office/drawing/2014/main" id="{E16E72FE-8A05-45E3-A775-CDCAFB55576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8" name="Freeform: Shape 57">
              <a:extLst>
                <a:ext uri="{FF2B5EF4-FFF2-40B4-BE49-F238E27FC236}">
                  <a16:creationId xmlns:a16="http://schemas.microsoft.com/office/drawing/2014/main" id="{9646B644-EB22-427A-9647-C5D446888223}"/>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59" name="Picture 58" descr="Michigan among top 10 pro-business states, named most improved state in  CNBC rankings | Economic development, Pure michigan, Michigan">
              <a:extLst>
                <a:ext uri="{FF2B5EF4-FFF2-40B4-BE49-F238E27FC236}">
                  <a16:creationId xmlns:a16="http://schemas.microsoft.com/office/drawing/2014/main" id="{0E78C0AF-BED3-4BD5-BA75-106A1D04D6FB}"/>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60" name="Picture 59" descr="Michigan among top 10 pro-business states, named most improved state in  CNBC rankings | Economic development, Pure michigan, Michigan">
              <a:extLst>
                <a:ext uri="{FF2B5EF4-FFF2-40B4-BE49-F238E27FC236}">
                  <a16:creationId xmlns:a16="http://schemas.microsoft.com/office/drawing/2014/main" id="{F7175E1F-8BC9-4B4E-A951-21070E6D94AA}"/>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30807" r="52037" b="49245"/>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61" name="Picture 60" descr="Michigan among top 10 pro-business states, named most improved state in  CNBC rankings | Economic development, Pure michigan, Michigan">
              <a:extLst>
                <a:ext uri="{FF2B5EF4-FFF2-40B4-BE49-F238E27FC236}">
                  <a16:creationId xmlns:a16="http://schemas.microsoft.com/office/drawing/2014/main" id="{3C3F4103-D398-4B84-936D-FAB973B755B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28" name="Slide Number">
            <a:extLst>
              <a:ext uri="{FF2B5EF4-FFF2-40B4-BE49-F238E27FC236}">
                <a16:creationId xmlns:a16="http://schemas.microsoft.com/office/drawing/2014/main" id="{FDD178F0-F601-4265-9E61-3FF929427194}"/>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7304150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368058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9F417B93-1C77-44D7-8D8A-F2BE4BED854C}"/>
              </a:ext>
            </a:extLst>
          </p:cNvPr>
          <p:cNvSpPr>
            <a:spLocks/>
          </p:cNvSpPr>
          <p:nvPr userDrawn="1"/>
        </p:nvSpPr>
        <p:spPr bwMode="ltGray">
          <a:xfrm>
            <a:off x="0" y="6486348"/>
            <a:ext cx="12192000" cy="371652"/>
          </a:xfrm>
          <a:prstGeom prst="rect">
            <a:avLst/>
          </a:prstGeom>
          <a:solidFill>
            <a:srgbClr val="0013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2AA05A-BAD6-4198-9642-23B4EE14E383}"/>
              </a:ext>
            </a:extLst>
          </p:cNvPr>
          <p:cNvGrpSpPr/>
          <p:nvPr userDrawn="1"/>
        </p:nvGrpSpPr>
        <p:grpSpPr>
          <a:xfrm>
            <a:off x="9318251" y="6528816"/>
            <a:ext cx="2033975" cy="256591"/>
            <a:chOff x="9596444" y="6528816"/>
            <a:chExt cx="2033975" cy="256591"/>
          </a:xfrm>
        </p:grpSpPr>
        <p:grpSp>
          <p:nvGrpSpPr>
            <p:cNvPr id="24" name="Group 23">
              <a:extLst>
                <a:ext uri="{FF2B5EF4-FFF2-40B4-BE49-F238E27FC236}">
                  <a16:creationId xmlns:a16="http://schemas.microsoft.com/office/drawing/2014/main" id="{A858D792-F688-4EA4-9200-A1AA281AFE69}"/>
                </a:ext>
              </a:extLst>
            </p:cNvPr>
            <p:cNvGrpSpPr/>
            <p:nvPr userDrawn="1"/>
          </p:nvGrpSpPr>
          <p:grpSpPr>
            <a:xfrm>
              <a:off x="10651738" y="6560134"/>
              <a:ext cx="978681" cy="225273"/>
              <a:chOff x="10651738" y="6560134"/>
              <a:chExt cx="978681" cy="225273"/>
            </a:xfrm>
          </p:grpSpPr>
          <p:sp>
            <p:nvSpPr>
              <p:cNvPr id="28" name="Freeform: Shape 27">
                <a:extLst>
                  <a:ext uri="{FF2B5EF4-FFF2-40B4-BE49-F238E27FC236}">
                    <a16:creationId xmlns:a16="http://schemas.microsoft.com/office/drawing/2014/main" id="{76AF8FB5-00BF-4352-BBE8-58D54936C9F9}"/>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Shape 28">
                <a:extLst>
                  <a:ext uri="{FF2B5EF4-FFF2-40B4-BE49-F238E27FC236}">
                    <a16:creationId xmlns:a16="http://schemas.microsoft.com/office/drawing/2014/main" id="{9F6F218C-EC2C-4383-89AB-443A17502A3F}"/>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Shape 29">
                <a:extLst>
                  <a:ext uri="{FF2B5EF4-FFF2-40B4-BE49-F238E27FC236}">
                    <a16:creationId xmlns:a16="http://schemas.microsoft.com/office/drawing/2014/main" id="{2970D55D-2776-491E-B20B-ADD4ED2617E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Shape 30">
                <a:extLst>
                  <a:ext uri="{FF2B5EF4-FFF2-40B4-BE49-F238E27FC236}">
                    <a16:creationId xmlns:a16="http://schemas.microsoft.com/office/drawing/2014/main" id="{E6C401B6-7756-49D6-8C53-4B9F808E5C7D}"/>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Shape 31">
                <a:extLst>
                  <a:ext uri="{FF2B5EF4-FFF2-40B4-BE49-F238E27FC236}">
                    <a16:creationId xmlns:a16="http://schemas.microsoft.com/office/drawing/2014/main" id="{5E881771-E9E6-43FE-9E16-F0EC129AF2EE}"/>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Shape 32">
                <a:extLst>
                  <a:ext uri="{FF2B5EF4-FFF2-40B4-BE49-F238E27FC236}">
                    <a16:creationId xmlns:a16="http://schemas.microsoft.com/office/drawing/2014/main" id="{CCF767F7-CFF9-4309-9990-E6D49FF6CE5B}"/>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Shape 33">
                <a:extLst>
                  <a:ext uri="{FF2B5EF4-FFF2-40B4-BE49-F238E27FC236}">
                    <a16:creationId xmlns:a16="http://schemas.microsoft.com/office/drawing/2014/main" id="{E53B447A-F32C-4BFC-AD83-52D7FB9E8F4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Shape 34">
                <a:extLst>
                  <a:ext uri="{FF2B5EF4-FFF2-40B4-BE49-F238E27FC236}">
                    <a16:creationId xmlns:a16="http://schemas.microsoft.com/office/drawing/2014/main" id="{B27DC7EE-2EB8-4C89-B418-582AC6DEBF3B}"/>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Shape 35">
                <a:extLst>
                  <a:ext uri="{FF2B5EF4-FFF2-40B4-BE49-F238E27FC236}">
                    <a16:creationId xmlns:a16="http://schemas.microsoft.com/office/drawing/2014/main" id="{36F96746-C2ED-42D6-858C-92F75F9097D6}"/>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Shape 36">
                <a:extLst>
                  <a:ext uri="{FF2B5EF4-FFF2-40B4-BE49-F238E27FC236}">
                    <a16:creationId xmlns:a16="http://schemas.microsoft.com/office/drawing/2014/main" id="{E67EE33D-C03E-4A6E-9956-7269C707E44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Shape 37">
                <a:extLst>
                  <a:ext uri="{FF2B5EF4-FFF2-40B4-BE49-F238E27FC236}">
                    <a16:creationId xmlns:a16="http://schemas.microsoft.com/office/drawing/2014/main" id="{45B20ACD-DA4B-4B10-B12F-8F5918204A23}"/>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Shape 38">
                <a:extLst>
                  <a:ext uri="{FF2B5EF4-FFF2-40B4-BE49-F238E27FC236}">
                    <a16:creationId xmlns:a16="http://schemas.microsoft.com/office/drawing/2014/main" id="{65E1D746-FCED-46E8-844A-0FA7A09241AD}"/>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Shape 39">
                <a:extLst>
                  <a:ext uri="{FF2B5EF4-FFF2-40B4-BE49-F238E27FC236}">
                    <a16:creationId xmlns:a16="http://schemas.microsoft.com/office/drawing/2014/main" id="{F2559352-8D35-408B-944D-A953A44D672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Shape 40">
                <a:extLst>
                  <a:ext uri="{FF2B5EF4-FFF2-40B4-BE49-F238E27FC236}">
                    <a16:creationId xmlns:a16="http://schemas.microsoft.com/office/drawing/2014/main" id="{87D64791-EAFE-4488-90EF-A198430D4E4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94F0BD32-C933-403C-A700-E4C496D142FB}"/>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1FC460E9-C157-4A4B-99C4-2695AF1DE72C}"/>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4C2266C3-2539-46AD-BB68-982B6CDB39EC}"/>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2" name="Slide Number">
            <a:extLst>
              <a:ext uri="{FF2B5EF4-FFF2-40B4-BE49-F238E27FC236}">
                <a16:creationId xmlns:a16="http://schemas.microsoft.com/office/drawing/2014/main" id="{E321132B-2CE7-4543-87D0-E6769C5A9613}"/>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37116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b="0" dirty="0">
                <a:solidFill>
                  <a:schemeClr val="accent1"/>
                </a:solidFill>
              </a:defRPr>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787BE07F-C63D-4F9D-8261-69288C91225B}"/>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2411338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28" name="Slide Number">
            <a:extLst>
              <a:ext uri="{FF2B5EF4-FFF2-40B4-BE49-F238E27FC236}">
                <a16:creationId xmlns:a16="http://schemas.microsoft.com/office/drawing/2014/main" id="{2E4D825C-B452-4263-97C7-DD013E06C46A}"/>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825259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1816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39" name="Group 38">
            <a:extLst>
              <a:ext uri="{FF2B5EF4-FFF2-40B4-BE49-F238E27FC236}">
                <a16:creationId xmlns:a16="http://schemas.microsoft.com/office/drawing/2014/main" id="{1949FCB2-D43D-4F56-A40B-3B90932E5997}"/>
              </a:ext>
            </a:extLst>
          </p:cNvPr>
          <p:cNvGrpSpPr/>
          <p:nvPr userDrawn="1"/>
        </p:nvGrpSpPr>
        <p:grpSpPr>
          <a:xfrm>
            <a:off x="3302368" y="3076576"/>
            <a:ext cx="5587266" cy="704850"/>
            <a:chOff x="9596444" y="6528816"/>
            <a:chExt cx="2033975" cy="256591"/>
          </a:xfrm>
        </p:grpSpPr>
        <p:grpSp>
          <p:nvGrpSpPr>
            <p:cNvPr id="40" name="Group 39">
              <a:extLst>
                <a:ext uri="{FF2B5EF4-FFF2-40B4-BE49-F238E27FC236}">
                  <a16:creationId xmlns:a16="http://schemas.microsoft.com/office/drawing/2014/main" id="{509246E9-C592-4701-91B8-49888801A3C8}"/>
                </a:ext>
              </a:extLst>
            </p:cNvPr>
            <p:cNvGrpSpPr/>
            <p:nvPr userDrawn="1"/>
          </p:nvGrpSpPr>
          <p:grpSpPr>
            <a:xfrm>
              <a:off x="10651738" y="6560134"/>
              <a:ext cx="978681" cy="225273"/>
              <a:chOff x="10651738" y="6560134"/>
              <a:chExt cx="978681" cy="225273"/>
            </a:xfrm>
          </p:grpSpPr>
          <p:sp>
            <p:nvSpPr>
              <p:cNvPr id="44" name="Freeform: Shape 43">
                <a:extLst>
                  <a:ext uri="{FF2B5EF4-FFF2-40B4-BE49-F238E27FC236}">
                    <a16:creationId xmlns:a16="http://schemas.microsoft.com/office/drawing/2014/main" id="{86119335-05F2-48AC-99F8-A0AEFD497FC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 name="Freeform: Shape 44">
                <a:extLst>
                  <a:ext uri="{FF2B5EF4-FFF2-40B4-BE49-F238E27FC236}">
                    <a16:creationId xmlns:a16="http://schemas.microsoft.com/office/drawing/2014/main" id="{048EAC4E-B07C-46D2-9595-FD161713946F}"/>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Freeform: Shape 45">
                <a:extLst>
                  <a:ext uri="{FF2B5EF4-FFF2-40B4-BE49-F238E27FC236}">
                    <a16:creationId xmlns:a16="http://schemas.microsoft.com/office/drawing/2014/main" id="{50FD00D1-B785-4AE0-A507-F55C78F5BCE8}"/>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7" name="Freeform: Shape 46">
                <a:extLst>
                  <a:ext uri="{FF2B5EF4-FFF2-40B4-BE49-F238E27FC236}">
                    <a16:creationId xmlns:a16="http://schemas.microsoft.com/office/drawing/2014/main" id="{1047ACCD-4A1D-4F57-BEEB-FEE9724F5A25}"/>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8" name="Freeform: Shape 47">
                <a:extLst>
                  <a:ext uri="{FF2B5EF4-FFF2-40B4-BE49-F238E27FC236}">
                    <a16:creationId xmlns:a16="http://schemas.microsoft.com/office/drawing/2014/main" id="{F1FF6261-1E4D-4B06-B757-E914E945D67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48">
                <a:extLst>
                  <a:ext uri="{FF2B5EF4-FFF2-40B4-BE49-F238E27FC236}">
                    <a16:creationId xmlns:a16="http://schemas.microsoft.com/office/drawing/2014/main" id="{CB5D8068-0947-43B5-B4B5-3A667E17E0C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0" name="Freeform: Shape 49">
                <a:extLst>
                  <a:ext uri="{FF2B5EF4-FFF2-40B4-BE49-F238E27FC236}">
                    <a16:creationId xmlns:a16="http://schemas.microsoft.com/office/drawing/2014/main" id="{C7BB0490-EA90-45E4-B955-7EEFBEF757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1" name="Freeform: Shape 50">
                <a:extLst>
                  <a:ext uri="{FF2B5EF4-FFF2-40B4-BE49-F238E27FC236}">
                    <a16:creationId xmlns:a16="http://schemas.microsoft.com/office/drawing/2014/main" id="{F6FBD414-5278-43E8-BC3D-C3D29AA5522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2" name="Freeform: Shape 51">
                <a:extLst>
                  <a:ext uri="{FF2B5EF4-FFF2-40B4-BE49-F238E27FC236}">
                    <a16:creationId xmlns:a16="http://schemas.microsoft.com/office/drawing/2014/main" id="{938CD461-AA67-45A2-B04D-4A0B2B48E11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3" name="Freeform: Shape 52">
                <a:extLst>
                  <a:ext uri="{FF2B5EF4-FFF2-40B4-BE49-F238E27FC236}">
                    <a16:creationId xmlns:a16="http://schemas.microsoft.com/office/drawing/2014/main" id="{A15A8131-5B37-4040-B497-B0CBCF3460E1}"/>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 name="Freeform: Shape 53">
                <a:extLst>
                  <a:ext uri="{FF2B5EF4-FFF2-40B4-BE49-F238E27FC236}">
                    <a16:creationId xmlns:a16="http://schemas.microsoft.com/office/drawing/2014/main" id="{6D4A1274-37CA-4734-AD4F-5CA841AF0F36}"/>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5" name="Freeform: Shape 54">
                <a:extLst>
                  <a:ext uri="{FF2B5EF4-FFF2-40B4-BE49-F238E27FC236}">
                    <a16:creationId xmlns:a16="http://schemas.microsoft.com/office/drawing/2014/main" id="{9E132E23-5A69-49C9-BD92-DCB8E44925A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6" name="Freeform: Shape 55">
                <a:extLst>
                  <a:ext uri="{FF2B5EF4-FFF2-40B4-BE49-F238E27FC236}">
                    <a16:creationId xmlns:a16="http://schemas.microsoft.com/office/drawing/2014/main" id="{A5D3D138-807F-481C-9B37-13E601E027E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7" name="Freeform: Shape 56">
                <a:extLst>
                  <a:ext uri="{FF2B5EF4-FFF2-40B4-BE49-F238E27FC236}">
                    <a16:creationId xmlns:a16="http://schemas.microsoft.com/office/drawing/2014/main" id="{BA4392DB-4C69-429B-BA35-07F72FE24469}"/>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41" name="Picture 40" descr="Michigan among top 10 pro-business states, named most improved state in  CNBC rankings | Economic development, Pure michigan, Michigan">
              <a:extLst>
                <a:ext uri="{FF2B5EF4-FFF2-40B4-BE49-F238E27FC236}">
                  <a16:creationId xmlns:a16="http://schemas.microsoft.com/office/drawing/2014/main" id="{8B244A2C-77A4-4831-8759-BC55E76F7C00}"/>
                </a:ext>
              </a:extLst>
            </p:cNvPr>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2" name="Picture 41" descr="Michigan among top 10 pro-business states, named most improved state in  CNBC rankings | Economic development, Pure michigan, Michigan">
              <a:extLst>
                <a:ext uri="{FF2B5EF4-FFF2-40B4-BE49-F238E27FC236}">
                  <a16:creationId xmlns:a16="http://schemas.microsoft.com/office/drawing/2014/main" id="{BCB470A2-98E5-4BCA-8295-38AE0C2E0AE6}"/>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43" name="Picture 42" descr="Michigan among top 10 pro-business states, named most improved state in  CNBC rankings | Economic development, Pure michigan, Michigan">
              <a:extLst>
                <a:ext uri="{FF2B5EF4-FFF2-40B4-BE49-F238E27FC236}">
                  <a16:creationId xmlns:a16="http://schemas.microsoft.com/office/drawing/2014/main" id="{DCCB39B8-CCE7-4899-9C0B-D419FEF75F15}"/>
                </a:ext>
              </a:extLst>
            </p:cNvPr>
            <p:cNvPicPr>
              <a:picLocks noChangeAspect="1" noChangeArrowheads="1"/>
            </p:cNvPicPr>
            <p:nvPr userDrawn="1"/>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626939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762A-BD6B-4D3F-BC44-28B3948D37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21533E-5B5B-4D1F-9F7C-09436FB384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28918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77030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047646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520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A5E2D383-6BD7-4E47-AEAB-BF8D485A2A7F}"/>
              </a:ext>
            </a:extLst>
          </p:cNvPr>
          <p:cNvGrpSpPr/>
          <p:nvPr userDrawn="1"/>
        </p:nvGrpSpPr>
        <p:grpSpPr bwMode="ltGray">
          <a:xfrm>
            <a:off x="0" y="0"/>
            <a:ext cx="12192000" cy="6858000"/>
            <a:chOff x="0" y="0"/>
            <a:chExt cx="12192000" cy="6858000"/>
          </a:xfrm>
        </p:grpSpPr>
        <p:pic>
          <p:nvPicPr>
            <p:cNvPr id="9" name="Picture 8" descr="Front-slide.jpg">
              <a:extLst>
                <a:ext uri="{FF2B5EF4-FFF2-40B4-BE49-F238E27FC236}">
                  <a16:creationId xmlns:a16="http://schemas.microsoft.com/office/drawing/2014/main" id="{FC30A1D8-8696-456A-8FD3-9F8331321B13}"/>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bwMode="ltGray">
            <a:xfrm>
              <a:off x="0" y="0"/>
              <a:ext cx="12192000" cy="5442613"/>
            </a:xfrm>
            <a:prstGeom prst="rect">
              <a:avLst/>
            </a:prstGeom>
          </p:spPr>
        </p:pic>
        <p:pic>
          <p:nvPicPr>
            <p:cNvPr id="10" name="Picture 9" descr="Front-slide.jpg">
              <a:extLst>
                <a:ext uri="{FF2B5EF4-FFF2-40B4-BE49-F238E27FC236}">
                  <a16:creationId xmlns:a16="http://schemas.microsoft.com/office/drawing/2014/main" id="{99CC370B-6E36-4605-A9B8-1C13046721E1}"/>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bwMode="ltGray">
            <a:xfrm>
              <a:off x="0" y="5350538"/>
              <a:ext cx="12192000" cy="1507462"/>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7" name="Documenttype">
            <a:extLst>
              <a:ext uri="{FF2B5EF4-FFF2-40B4-BE49-F238E27FC236}">
                <a16:creationId xmlns:a16="http://schemas.microsoft.com/office/drawing/2014/main" id="{0F3FF28E-2DBF-4A30-9824-7AEEE5DB5C18}"/>
              </a:ext>
            </a:extLst>
          </p:cNvPr>
          <p:cNvSpPr>
            <a:spLocks noGrp="1"/>
          </p:cNvSpPr>
          <p:nvPr>
            <p:ph type="body" sz="quarter" idx="13" hasCustomPrompt="1"/>
            <p:custDataLst>
              <p:tags r:id="rId3"/>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D69A11EA-2D65-43CB-91C6-D357AC640203}"/>
              </a:ext>
            </a:extLst>
          </p:cNvPr>
          <p:cNvSpPr>
            <a:spLocks noGrp="1"/>
          </p:cNvSpPr>
          <p:nvPr>
            <p:ph type="subTitle" idx="1"/>
            <p:custDataLst>
              <p:tags r:id="rId4"/>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1" name="Title">
            <a:extLst>
              <a:ext uri="{FF2B5EF4-FFF2-40B4-BE49-F238E27FC236}">
                <a16:creationId xmlns:a16="http://schemas.microsoft.com/office/drawing/2014/main" id="{648DC54C-5450-4B3E-8814-2A74A1321519}"/>
              </a:ext>
            </a:extLst>
          </p:cNvPr>
          <p:cNvSpPr>
            <a:spLocks noGrp="1"/>
          </p:cNvSpPr>
          <p:nvPr>
            <p:ph type="title" hasCustomPrompt="1"/>
            <p:custDataLst>
              <p:tags r:id="rId5"/>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bg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1301510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15817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b="0" dirty="0">
                <a:solidFill>
                  <a:schemeClr val="accent1"/>
                </a:solidFill>
              </a:defRPr>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787BE07F-C63D-4F9D-8261-69288C91225B}"/>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936142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01814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4869802-E16F-4A28-8BBB-FC35B9F96FBB}"/>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589889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7010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FC47757-6F87-455C-A654-7C75C57A1B88}"/>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2310180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0658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C90085F-0C5D-430F-9D17-21159A8A971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1533396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8343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F8C573BE-9C2D-4EF2-A4D3-A79B8B1D3A42}"/>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78603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4869802-E16F-4A28-8BBB-FC35B9F96FBB}"/>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9931306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53266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42" name="Group 41">
            <a:extLst>
              <a:ext uri="{FF2B5EF4-FFF2-40B4-BE49-F238E27FC236}">
                <a16:creationId xmlns:a16="http://schemas.microsoft.com/office/drawing/2014/main" id="{DF90BE24-DAD5-40A0-8D1E-210869C38659}"/>
              </a:ext>
            </a:extLst>
          </p:cNvPr>
          <p:cNvGrpSpPr/>
          <p:nvPr userDrawn="1"/>
        </p:nvGrpSpPr>
        <p:grpSpPr>
          <a:xfrm>
            <a:off x="9318251" y="6528816"/>
            <a:ext cx="2033975" cy="256591"/>
            <a:chOff x="9596444" y="6528816"/>
            <a:chExt cx="2033975" cy="256591"/>
          </a:xfrm>
        </p:grpSpPr>
        <p:sp>
          <p:nvSpPr>
            <p:cNvPr id="28" name="Freeform: Shape 27">
              <a:extLst>
                <a:ext uri="{FF2B5EF4-FFF2-40B4-BE49-F238E27FC236}">
                  <a16:creationId xmlns:a16="http://schemas.microsoft.com/office/drawing/2014/main" id="{CF262B2A-5A0D-4E43-95E8-DD7617C0B554}"/>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8" name="Group 7">
              <a:extLst>
                <a:ext uri="{FF2B5EF4-FFF2-40B4-BE49-F238E27FC236}">
                  <a16:creationId xmlns:a16="http://schemas.microsoft.com/office/drawing/2014/main" id="{FAB479E1-AAA5-4223-906C-972BFAC08A5B}"/>
                </a:ext>
              </a:extLst>
            </p:cNvPr>
            <p:cNvGrpSpPr/>
            <p:nvPr userDrawn="1"/>
          </p:nvGrpSpPr>
          <p:grpSpPr>
            <a:xfrm>
              <a:off x="10651738" y="6635448"/>
              <a:ext cx="978681" cy="68285"/>
              <a:chOff x="10651738" y="6635448"/>
              <a:chExt cx="978681" cy="68285"/>
            </a:xfrm>
            <a:solidFill>
              <a:schemeClr val="tx1"/>
            </a:solidFill>
          </p:grpSpPr>
          <p:sp>
            <p:nvSpPr>
              <p:cNvPr id="29" name="Freeform: Shape 28">
                <a:extLst>
                  <a:ext uri="{FF2B5EF4-FFF2-40B4-BE49-F238E27FC236}">
                    <a16:creationId xmlns:a16="http://schemas.microsoft.com/office/drawing/2014/main" id="{3950F227-6E54-465D-9A6F-589A2C30AF7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E7BE0C3-19B3-4063-A924-03969281275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794EB8C-307D-46FD-9128-1648DF6A9974}"/>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16AD69D-2987-4D61-AC91-4C2280E39147}"/>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1222EC3-084F-4FA5-AE2E-BE1EA133318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6E7C789-BFAF-4468-A29B-F92A1784C0FE}"/>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4C6DD3BF-B8E6-4D23-904E-0D4987EF185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53940B6-B5D3-479D-805F-BD6D9D3B13A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CA9029C-AE55-4498-9F30-9B304ADD00A6}"/>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453AC4FE-E49F-4446-9822-E81FF4DE943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46F738A-79F5-40A0-91C4-9336C85BFD2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9DA124E-6738-491C-88FE-D5F24C7F0EF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8EF10BD-4D9D-4353-B2C2-4D541A2A64C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716BE200-D122-419E-B9F6-951B77125BA3}"/>
                </a:ext>
              </a:extLst>
            </p:cNvPr>
            <p:cNvGrpSpPr/>
            <p:nvPr userDrawn="1"/>
          </p:nvGrpSpPr>
          <p:grpSpPr>
            <a:xfrm>
              <a:off x="9596444" y="6528816"/>
              <a:ext cx="978690" cy="218599"/>
              <a:chOff x="9596444" y="6528816"/>
              <a:chExt cx="978690" cy="218599"/>
            </a:xfrm>
          </p:grpSpPr>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E4B7F58D-27A1-4049-AB99-6D919A70E9C6}"/>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C9E2E8C7-47BE-4CE7-B56F-D8833A6E75BC}"/>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80BA5C73-1154-4FC0-8D0A-87A7645573A7}"/>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51E2DB51-23D5-4823-B0EF-8702ECF5E6D2}"/>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353824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26277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DD325A52-F9F5-49A8-B334-5E1B8032C139}"/>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EC272AA3-9028-4DC3-BA67-2DC90F70D433}"/>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B088E19A-1AF1-45D9-B231-DBC3C73EFBC2}"/>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85865606-666D-4EBF-B15D-9DFE6B1449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BEB76E29-34D2-4581-9611-BF8499735B71}"/>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6ED56F0-B243-4270-83E1-66D3E357D7D9}"/>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FCE09B65-11BE-4398-9B93-EB83A697EA66}"/>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9F3A607-2754-4B4B-A244-0878F71DD505}"/>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904EB0B-1D99-44A0-9D1D-CA6659EEFA0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6672C9-FC8C-4F21-895A-4012EBB1B2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4BEDE614-BE19-476A-9DDE-D3A34E147E0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93B8053-3B62-41EC-A88C-FF34B6597A7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6A73CC4-2934-4143-A8D0-6F9796C9674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320ED28-6388-461C-BFA5-DE204470AF9A}"/>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7662221-3269-4BD3-8881-3B9B97E82786}"/>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09D0F6F7-C8EA-4189-84F1-9F4CC4E42B9C}"/>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510A3529-8430-4616-861F-3382D56EE618}"/>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897A925-9287-4B17-8EBA-7AEF407AE29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4BFFFBF3-12FC-4C5C-97B4-6C356D2441B2}"/>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7ADA212A-AEE4-4EFC-BD40-8C9A3A63D4E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0E1C911-8EBE-4600-89FC-58E0156DB3CD}"/>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292312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843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0ACAA81B-90A7-4A49-AA37-873F677635FE}"/>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174E6DAF-6B06-4807-9213-33C908E719B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1C2EBD83-A1FD-4292-BE32-3A03B5B5FE48}"/>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019B946-4640-4E1B-8B70-A31DD6C89482}"/>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56709DA-61AF-4FDE-9038-0DE9C323F66E}"/>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4AFE3DE-7087-49F1-99C8-C7B91F98B282}"/>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15A07855-3A58-4E23-8B51-744DF88A3603}"/>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22DC008-4B7D-481A-A09E-C0C890D9D95C}"/>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64C9222C-7BED-4E1E-81E9-4AA0F56938ED}"/>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09B1EB7-7372-4577-96F1-70D96FDDEC8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E3A20C1-5E1F-4A58-A027-0A85344074E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89E1BEA-8364-4113-9C09-036666D3F632}"/>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742BD27-8450-4BCC-964F-D796E268D4B2}"/>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F167EBF9-04E0-46E3-850C-835005D92957}"/>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305AED6-070B-4B65-B012-928A80FC553B}"/>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FFA3DCA-F213-410B-9526-285D8745DD02}"/>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246AC750-0488-4E17-83A0-C862149D0DE7}"/>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8ECA2D96-980A-48F5-87E1-332D01C648F0}"/>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05C4CF1B-096F-422F-AD33-F5C37C5307F4}"/>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E6CE48F3-8F62-434B-A0CC-F13339B53F3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A540DE9E-41E0-4056-B73E-E8D3F768DC71}"/>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666392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62248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60114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3" name="Group 22">
            <a:extLst>
              <a:ext uri="{FF2B5EF4-FFF2-40B4-BE49-F238E27FC236}">
                <a16:creationId xmlns:a16="http://schemas.microsoft.com/office/drawing/2014/main" id="{702062F0-2474-47FE-AFCB-7DB2E5F8BB51}"/>
              </a:ext>
            </a:extLst>
          </p:cNvPr>
          <p:cNvGrpSpPr/>
          <p:nvPr userDrawn="1"/>
        </p:nvGrpSpPr>
        <p:grpSpPr>
          <a:xfrm>
            <a:off x="9318251" y="6528816"/>
            <a:ext cx="2033975" cy="256591"/>
            <a:chOff x="9596444" y="6528816"/>
            <a:chExt cx="2033975" cy="256591"/>
          </a:xfrm>
        </p:grpSpPr>
        <p:sp>
          <p:nvSpPr>
            <p:cNvPr id="24" name="Freeform: Shape 23">
              <a:extLst>
                <a:ext uri="{FF2B5EF4-FFF2-40B4-BE49-F238E27FC236}">
                  <a16:creationId xmlns:a16="http://schemas.microsoft.com/office/drawing/2014/main" id="{6038A781-6E11-45C8-8F58-D84B78932531}"/>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5" name="Group 24">
              <a:extLst>
                <a:ext uri="{FF2B5EF4-FFF2-40B4-BE49-F238E27FC236}">
                  <a16:creationId xmlns:a16="http://schemas.microsoft.com/office/drawing/2014/main" id="{D2199006-044B-4548-9CD9-44F42D3253EE}"/>
                </a:ext>
              </a:extLst>
            </p:cNvPr>
            <p:cNvGrpSpPr/>
            <p:nvPr userDrawn="1"/>
          </p:nvGrpSpPr>
          <p:grpSpPr>
            <a:xfrm>
              <a:off x="10651738" y="6635448"/>
              <a:ext cx="978681" cy="68285"/>
              <a:chOff x="10651738" y="6635448"/>
              <a:chExt cx="978681" cy="68285"/>
            </a:xfrm>
            <a:solidFill>
              <a:schemeClr val="tx1"/>
            </a:solidFill>
          </p:grpSpPr>
          <p:sp>
            <p:nvSpPr>
              <p:cNvPr id="30" name="Freeform: Shape 29">
                <a:extLst>
                  <a:ext uri="{FF2B5EF4-FFF2-40B4-BE49-F238E27FC236}">
                    <a16:creationId xmlns:a16="http://schemas.microsoft.com/office/drawing/2014/main" id="{C410F83D-0D67-41A0-B3BB-C4686D9AC7B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45BAAAE-D0E4-4C47-B92E-801D86EB8B6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642DD567-848C-4786-8D17-94B411F03F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37E1297E-138D-45FD-91EF-29224459821D}"/>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8A4BA17-8BFC-4E10-A138-4B4240045A56}"/>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6C956AA-9C84-4E4B-AD85-08C7F05FA55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95EAC5C-7C47-427D-824A-A1B4336E290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86027068-9B6E-4E6B-BC23-4C10FFAFA524}"/>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6C5C74E-3E79-4FAB-B1D6-F51B62AB420D}"/>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2B47949-9B55-4909-BF03-74103C98D72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B4092786-E365-4B09-97A2-DDC9A64A5352}"/>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98E1C81-B619-4DE7-95E9-86D64379E898}"/>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DB8779E-859F-4E50-A168-FF4D80ED5FED}"/>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733822F2-44DC-4698-9C03-07710DC42373}"/>
                </a:ext>
              </a:extLst>
            </p:cNvPr>
            <p:cNvGrpSpPr/>
            <p:nvPr userDrawn="1"/>
          </p:nvGrpSpPr>
          <p:grpSpPr>
            <a:xfrm>
              <a:off x="9596444" y="6528816"/>
              <a:ext cx="978690" cy="218599"/>
              <a:chOff x="9596444" y="6528816"/>
              <a:chExt cx="978690" cy="218599"/>
            </a:xfrm>
          </p:grpSpPr>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0B1A205C-1C48-4943-B750-021494D37D5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8B36F7B2-8C52-4C24-9CC4-07C0A26920A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A7F7B88B-7DF2-4980-9CF5-6049F30EBF8C}"/>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3951F8FF-ED5A-4EB7-BBA5-5C3273F2BAE0}"/>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714456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08279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tx1"/>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4" name="Group 23">
            <a:extLst>
              <a:ext uri="{FF2B5EF4-FFF2-40B4-BE49-F238E27FC236}">
                <a16:creationId xmlns:a16="http://schemas.microsoft.com/office/drawing/2014/main" id="{9F98B04B-0152-4879-8A69-2353A1191B43}"/>
              </a:ext>
            </a:extLst>
          </p:cNvPr>
          <p:cNvGrpSpPr/>
          <p:nvPr userDrawn="1"/>
        </p:nvGrpSpPr>
        <p:grpSpPr>
          <a:xfrm>
            <a:off x="9318251" y="6528816"/>
            <a:ext cx="2033975" cy="256591"/>
            <a:chOff x="9596444" y="6528816"/>
            <a:chExt cx="2033975" cy="256591"/>
          </a:xfrm>
        </p:grpSpPr>
        <p:sp>
          <p:nvSpPr>
            <p:cNvPr id="25" name="Freeform: Shape 24">
              <a:extLst>
                <a:ext uri="{FF2B5EF4-FFF2-40B4-BE49-F238E27FC236}">
                  <a16:creationId xmlns:a16="http://schemas.microsoft.com/office/drawing/2014/main" id="{552CCDF8-63E1-45BF-9D88-4C40F2B263FE}"/>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26" name="Group 25">
              <a:extLst>
                <a:ext uri="{FF2B5EF4-FFF2-40B4-BE49-F238E27FC236}">
                  <a16:creationId xmlns:a16="http://schemas.microsoft.com/office/drawing/2014/main" id="{99271246-D64B-4358-8398-C63EAC61F75E}"/>
                </a:ext>
              </a:extLst>
            </p:cNvPr>
            <p:cNvGrpSpPr/>
            <p:nvPr userDrawn="1"/>
          </p:nvGrpSpPr>
          <p:grpSpPr>
            <a:xfrm>
              <a:off x="10651738" y="6635448"/>
              <a:ext cx="978681" cy="68285"/>
              <a:chOff x="10651738" y="6635448"/>
              <a:chExt cx="978681" cy="68285"/>
            </a:xfrm>
            <a:solidFill>
              <a:schemeClr val="tx1"/>
            </a:solidFill>
          </p:grpSpPr>
          <p:sp>
            <p:nvSpPr>
              <p:cNvPr id="31" name="Freeform: Shape 30">
                <a:extLst>
                  <a:ext uri="{FF2B5EF4-FFF2-40B4-BE49-F238E27FC236}">
                    <a16:creationId xmlns:a16="http://schemas.microsoft.com/office/drawing/2014/main" id="{EF1F8AAC-04D6-4029-82A9-2C2D31BCFBFE}"/>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890676B-8A42-4FF8-B0B0-B013DA7CE06A}"/>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16FBEDF-6BE3-43E8-8FF0-368760DEF077}"/>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DC0F9DD-8A72-4F43-92FF-077311C107D4}"/>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695F5EF-AB72-4273-A7AF-46B55B77A159}"/>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9D9D6B4-051A-4C76-8488-3230D80B6F47}"/>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210D327-6484-475B-ACE8-223B30591A2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0228F55-9027-4BE3-A4E4-EC7FCB734E83}"/>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3E77D07-7C87-4F7A-9F4F-7C501FE5540A}"/>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2E13801-8ABF-4230-ADB5-E8C69972C88D}"/>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5EB4BC7F-EF9C-42A3-8F6A-878653022BA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FD907A7-56A2-49BA-BD33-DB2D443537A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EFCB608-F37C-44D4-9297-8D228670318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DD430FED-C35D-4215-A831-E49674F79866}"/>
                </a:ext>
              </a:extLst>
            </p:cNvPr>
            <p:cNvGrpSpPr/>
            <p:nvPr userDrawn="1"/>
          </p:nvGrpSpPr>
          <p:grpSpPr>
            <a:xfrm>
              <a:off x="9596444" y="6528816"/>
              <a:ext cx="978690" cy="218599"/>
              <a:chOff x="9596444" y="6528816"/>
              <a:chExt cx="978690" cy="218599"/>
            </a:xfrm>
          </p:grpSpPr>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C9F4E7E1-525A-4F4B-BEBF-41C72E078B0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5FE4C96A-F737-4E80-96D4-98B40EE4066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E2005FDF-037D-487A-A3E0-A9224133ED63}"/>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4" name="Slide Number">
            <a:extLst>
              <a:ext uri="{FF2B5EF4-FFF2-40B4-BE49-F238E27FC236}">
                <a16:creationId xmlns:a16="http://schemas.microsoft.com/office/drawing/2014/main" id="{C9EEF503-7B97-4C15-A6A0-4B3DD1E642DA}"/>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8136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EDCB1688-880B-44E6-8532-22D4FA32778D}"/>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26" name="Group 25">
            <a:extLst>
              <a:ext uri="{FF2B5EF4-FFF2-40B4-BE49-F238E27FC236}">
                <a16:creationId xmlns:a16="http://schemas.microsoft.com/office/drawing/2014/main" id="{367C718F-B6FC-4F32-A687-E6345369BF48}"/>
              </a:ext>
            </a:extLst>
          </p:cNvPr>
          <p:cNvGrpSpPr/>
          <p:nvPr userDrawn="1"/>
        </p:nvGrpSpPr>
        <p:grpSpPr>
          <a:xfrm>
            <a:off x="9318251" y="6528816"/>
            <a:ext cx="2033975" cy="256591"/>
            <a:chOff x="9596444" y="6528816"/>
            <a:chExt cx="2033975" cy="256591"/>
          </a:xfrm>
        </p:grpSpPr>
        <p:grpSp>
          <p:nvGrpSpPr>
            <p:cNvPr id="27" name="Group 26">
              <a:extLst>
                <a:ext uri="{FF2B5EF4-FFF2-40B4-BE49-F238E27FC236}">
                  <a16:creationId xmlns:a16="http://schemas.microsoft.com/office/drawing/2014/main" id="{20D85453-3475-47CD-BA49-9BAF7B54FD8D}"/>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C002211B-6254-4B48-85B8-915BBDBEF2B8}"/>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E0E980E5-9629-4B99-82C2-063791A7FEE6}"/>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88531A5-70FC-4E31-97BC-81F1100F4700}"/>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649D9D58-2D0A-4C94-8097-09A3B606F043}"/>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703547EE-6B23-4900-A907-02FF77FBF2F1}"/>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DD82EC54-A6E1-4012-A726-EFA474F867D8}"/>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BEAB689-2287-43AD-8B55-3EBEC14E75D3}"/>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733F500-C94C-4049-AB0A-580327ADDC4E}"/>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CB0714E1-36E0-453E-8138-776AE641A09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C8D694D-8BF1-4CAD-AF33-FE5C69136DA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4E35D0F-847A-4A08-A158-584FC4ECCD1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3754A57D-06F0-4B99-91F5-FDD3A79EDB2F}"/>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D93099B-6CBA-497E-865E-960086F4B21C}"/>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E1A6EBE-B107-4F1E-A20D-3D3E13D891AE}"/>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28" name="Picture 27" descr="Michigan among top 10 pro-business states, named most improved state in  CNBC rankings | Economic development, Pure michigan, Michigan">
              <a:extLst>
                <a:ext uri="{FF2B5EF4-FFF2-40B4-BE49-F238E27FC236}">
                  <a16:creationId xmlns:a16="http://schemas.microsoft.com/office/drawing/2014/main" id="{27C0880C-4B8C-4B2A-8176-21CBAA805705}"/>
                </a:ext>
              </a:extLst>
            </p:cNvPr>
            <p:cNvPicPr>
              <a:picLocks noChangeAspect="1" noChangeArrowheads="1"/>
            </p:cNvPicPr>
            <p:nvPr userDrawn="1"/>
          </p:nvPicPr>
          <p:blipFill rotWithShape="1">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9" name="Picture 28" descr="Michigan among top 10 pro-business states, named most improved state in  CNBC rankings | Economic development, Pure michigan, Michigan">
              <a:extLst>
                <a:ext uri="{FF2B5EF4-FFF2-40B4-BE49-F238E27FC236}">
                  <a16:creationId xmlns:a16="http://schemas.microsoft.com/office/drawing/2014/main" id="{3CAD8EF4-73AA-484C-80B7-10C6455E0A6D}"/>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30" name="Picture 29" descr="Michigan among top 10 pro-business states, named most improved state in  CNBC rankings | Economic development, Pure michigan, Michigan">
              <a:extLst>
                <a:ext uri="{FF2B5EF4-FFF2-40B4-BE49-F238E27FC236}">
                  <a16:creationId xmlns:a16="http://schemas.microsoft.com/office/drawing/2014/main" id="{9A1B76F2-1580-4C26-8214-59733C9D1058}"/>
                </a:ext>
              </a:extLst>
            </p:cNvPr>
            <p:cNvPicPr>
              <a:picLocks noChangeAspect="1" noChangeArrowheads="1"/>
            </p:cNvPicPr>
            <p:nvPr userDrawn="1"/>
          </p:nvPicPr>
          <p:blipFill rotWithShape="1">
            <a:blip r:embed="rId13" cstate="screen">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5" name="Slide Number">
            <a:extLst>
              <a:ext uri="{FF2B5EF4-FFF2-40B4-BE49-F238E27FC236}">
                <a16:creationId xmlns:a16="http://schemas.microsoft.com/office/drawing/2014/main" id="{5B42C0FF-3D21-4746-99D6-4E4EF88BDCB1}"/>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4187422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50158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89EE01A-1C15-4DF9-A3EC-82610720CEA0}"/>
              </a:ext>
            </a:extLst>
          </p:cNvPr>
          <p:cNvSpPr>
            <a:spLocks noChangeArrowheads="1"/>
          </p:cNvSpPr>
          <p:nvPr userDrawn="1">
            <p:custDataLst>
              <p:tags r:id="rId4"/>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858777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1770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3" name="Group 52">
            <a:extLst>
              <a:ext uri="{FF2B5EF4-FFF2-40B4-BE49-F238E27FC236}">
                <a16:creationId xmlns:a16="http://schemas.microsoft.com/office/drawing/2014/main" id="{C52640D5-C2A7-4D5A-82E3-7F2081D2264A}"/>
              </a:ext>
            </a:extLst>
          </p:cNvPr>
          <p:cNvGrpSpPr/>
          <p:nvPr userDrawn="1"/>
        </p:nvGrpSpPr>
        <p:grpSpPr>
          <a:xfrm>
            <a:off x="3302368" y="3076576"/>
            <a:ext cx="5587266" cy="704850"/>
            <a:chOff x="3302368" y="3076576"/>
            <a:chExt cx="5587266" cy="704850"/>
          </a:xfrm>
        </p:grpSpPr>
        <p:sp>
          <p:nvSpPr>
            <p:cNvPr id="14" name="Freeform: Shape 13">
              <a:extLst>
                <a:ext uri="{FF2B5EF4-FFF2-40B4-BE49-F238E27FC236}">
                  <a16:creationId xmlns:a16="http://schemas.microsoft.com/office/drawing/2014/main" id="{DE52504B-ED5A-4ABC-906C-C5D956CD9F25}"/>
                </a:ext>
              </a:extLst>
            </p:cNvPr>
            <p:cNvSpPr/>
            <p:nvPr/>
          </p:nvSpPr>
          <p:spPr bwMode="ltGray">
            <a:xfrm>
              <a:off x="6728190" y="3162606"/>
              <a:ext cx="813666" cy="618820"/>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15" name="Group 14">
              <a:extLst>
                <a:ext uri="{FF2B5EF4-FFF2-40B4-BE49-F238E27FC236}">
                  <a16:creationId xmlns:a16="http://schemas.microsoft.com/office/drawing/2014/main" id="{98641A9D-4DC7-4792-8A7F-A70CFD2B5B6C}"/>
                </a:ext>
              </a:extLst>
            </p:cNvPr>
            <p:cNvGrpSpPr/>
            <p:nvPr userDrawn="1"/>
          </p:nvGrpSpPr>
          <p:grpSpPr>
            <a:xfrm>
              <a:off x="6201228" y="3369492"/>
              <a:ext cx="2688406" cy="187577"/>
              <a:chOff x="10651738" y="6635448"/>
              <a:chExt cx="978681" cy="68285"/>
            </a:xfrm>
            <a:solidFill>
              <a:schemeClr val="tx1"/>
            </a:solidFill>
          </p:grpSpPr>
          <p:sp>
            <p:nvSpPr>
              <p:cNvPr id="20" name="Freeform: Shape 19">
                <a:extLst>
                  <a:ext uri="{FF2B5EF4-FFF2-40B4-BE49-F238E27FC236}">
                    <a16:creationId xmlns:a16="http://schemas.microsoft.com/office/drawing/2014/main" id="{C6F02C6B-D586-4E1F-A319-33FB070C2D68}"/>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D7D25B7-6398-4BCD-AAB5-76B3A9DEE9D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52F243-63BC-4A1E-8094-0208EC7EEA98}"/>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0565766-BFA1-4C11-B6C2-E4E50492C60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11E93A0F-9FF1-4C8C-8C01-D8AAF296F9C7}"/>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E41DFE5-AABA-47B9-9D0A-E6FC4CE3D574}"/>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095C75E-C985-4EBE-8183-B749FBEDA5BD}"/>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99C64CA0-33C8-4B9B-B80E-2B795888339C}"/>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A4C7BBF-C137-4D57-BB22-36168F2FF07F}"/>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EBC8D6C-904B-4952-B99F-AC3984C966B7}"/>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6D23F6A3-2BF6-4F5B-9594-E5F78E727EB3}"/>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4492F39-8B60-483B-BCE2-CA916B186F10}"/>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1DE0FDC-988E-40C2-AA73-EAF3AE866E9A}"/>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pic>
          <p:nvPicPr>
            <p:cNvPr id="18" name="Picture 17" descr="Michigan among top 10 pro-business states, named most improved state in  CNBC rankings | Economic development, Pure michigan, Michigan">
              <a:extLst>
                <a:ext uri="{FF2B5EF4-FFF2-40B4-BE49-F238E27FC236}">
                  <a16:creationId xmlns:a16="http://schemas.microsoft.com/office/drawing/2014/main" id="{DAEC263C-8BE3-4277-A4E7-52F1BA0071F4}"/>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50755" r="52979" b="40362"/>
            <a:stretch/>
          </p:blipFill>
          <p:spPr bwMode="ltGray">
            <a:xfrm>
              <a:off x="3302368" y="3492062"/>
              <a:ext cx="2629687" cy="185001"/>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descr="Michigan among top 10 pro-business states, named most improved state in  CNBC rankings | Economic development, Pure michigan, Michigan">
              <a:extLst>
                <a:ext uri="{FF2B5EF4-FFF2-40B4-BE49-F238E27FC236}">
                  <a16:creationId xmlns:a16="http://schemas.microsoft.com/office/drawing/2014/main" id="{34FA4C92-F722-46F2-AE34-F462A4B88043}"/>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815" t="30807" r="52037" b="49245"/>
            <a:stretch/>
          </p:blipFill>
          <p:spPr bwMode="ltGray">
            <a:xfrm>
              <a:off x="3302368" y="3076576"/>
              <a:ext cx="2688431" cy="415486"/>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descr="Michigan among top 10 pro-business states, named most improved state in  CNBC rankings | Economic development, Pure michigan, Michigan">
              <a:extLst>
                <a:ext uri="{FF2B5EF4-FFF2-40B4-BE49-F238E27FC236}">
                  <a16:creationId xmlns:a16="http://schemas.microsoft.com/office/drawing/2014/main" id="{2AD44453-2870-46B9-9F93-64A4EAC378DD}"/>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47963" t="34937" r="48877" b="36416"/>
            <a:stretch/>
          </p:blipFill>
          <p:spPr bwMode="ltGray">
            <a:xfrm>
              <a:off x="5990796" y="3162606"/>
              <a:ext cx="196831" cy="596666"/>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897091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2CA2A-753C-4C02-B711-FB08A4FA6D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D098977-3788-4E72-8202-FE69DD79D931}"/>
              </a:ext>
            </a:extLst>
          </p:cNvPr>
          <p:cNvSpPr>
            <a:spLocks noGrp="1"/>
          </p:cNvSpPr>
          <p:nvPr>
            <p:ph type="dt" sz="half" idx="10"/>
          </p:nvPr>
        </p:nvSpPr>
        <p:spPr/>
        <p:txBody>
          <a:bodyPr/>
          <a:lstStyle/>
          <a:p>
            <a:fld id="{1F0E8B0F-1D02-44DE-A70C-EAC011FF7D07}" type="datetimeFigureOut">
              <a:rPr lang="en-US" smtClean="0"/>
              <a:t>2/14/23</a:t>
            </a:fld>
            <a:endParaRPr lang="en-US" dirty="0"/>
          </a:p>
        </p:txBody>
      </p:sp>
      <p:sp>
        <p:nvSpPr>
          <p:cNvPr id="4" name="Footer Placeholder 3">
            <a:extLst>
              <a:ext uri="{FF2B5EF4-FFF2-40B4-BE49-F238E27FC236}">
                <a16:creationId xmlns:a16="http://schemas.microsoft.com/office/drawing/2014/main" id="{E91F6132-68B2-4249-9762-EC38E7D0A1A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2968F1E-6061-4341-BB79-ABE4A7C1D36A}"/>
              </a:ext>
            </a:extLst>
          </p:cNvPr>
          <p:cNvSpPr>
            <a:spLocks noGrp="1"/>
          </p:cNvSpPr>
          <p:nvPr>
            <p:ph type="sldNum" sz="quarter" idx="12"/>
          </p:nvPr>
        </p:nvSpPr>
        <p:spPr/>
        <p:txBody>
          <a:bodyPr/>
          <a:lstStyle/>
          <a:p>
            <a:fld id="{F5F4FEA6-CB66-455C-83FB-81CB968D6F43}" type="slidenum">
              <a:rPr lang="en-US" smtClean="0"/>
              <a:t>‹#›</a:t>
            </a:fld>
            <a:endParaRPr lang="en-US" dirty="0"/>
          </a:p>
        </p:txBody>
      </p:sp>
    </p:spTree>
    <p:extLst>
      <p:ext uri="{BB962C8B-B14F-4D97-AF65-F5344CB8AC3E}">
        <p14:creationId xmlns:p14="http://schemas.microsoft.com/office/powerpoint/2010/main" val="31254378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4660045"/>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2285326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FC47757-6F87-455C-A654-7C75C57A1B88}"/>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2924909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681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212898570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57192264"/>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42682397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3351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177647361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14998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A5E2D383-6BD7-4E47-AEAB-BF8D485A2A7F}"/>
              </a:ext>
            </a:extLst>
          </p:cNvPr>
          <p:cNvGrpSpPr/>
          <p:nvPr userDrawn="1"/>
        </p:nvGrpSpPr>
        <p:grpSpPr bwMode="ltGray">
          <a:xfrm>
            <a:off x="0" y="0"/>
            <a:ext cx="12192000" cy="6858000"/>
            <a:chOff x="0" y="0"/>
            <a:chExt cx="12192000" cy="6858000"/>
          </a:xfrm>
        </p:grpSpPr>
        <p:pic>
          <p:nvPicPr>
            <p:cNvPr id="9" name="Picture 8" descr="Front-slide.jpg">
              <a:extLst>
                <a:ext uri="{FF2B5EF4-FFF2-40B4-BE49-F238E27FC236}">
                  <a16:creationId xmlns:a16="http://schemas.microsoft.com/office/drawing/2014/main" id="{FC30A1D8-8696-456A-8FD3-9F8331321B1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bwMode="ltGray">
            <a:xfrm>
              <a:off x="0" y="0"/>
              <a:ext cx="12192000" cy="5442613"/>
            </a:xfrm>
            <a:prstGeom prst="rect">
              <a:avLst/>
            </a:prstGeom>
          </p:spPr>
        </p:pic>
        <p:pic>
          <p:nvPicPr>
            <p:cNvPr id="10" name="Picture 9" descr="Front-slide.jpg">
              <a:extLst>
                <a:ext uri="{FF2B5EF4-FFF2-40B4-BE49-F238E27FC236}">
                  <a16:creationId xmlns:a16="http://schemas.microsoft.com/office/drawing/2014/main" id="{99CC370B-6E36-4605-A9B8-1C13046721E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bwMode="ltGray">
            <a:xfrm>
              <a:off x="0" y="5350538"/>
              <a:ext cx="12192000" cy="1507462"/>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7" name="Documenttype">
            <a:extLst>
              <a:ext uri="{FF2B5EF4-FFF2-40B4-BE49-F238E27FC236}">
                <a16:creationId xmlns:a16="http://schemas.microsoft.com/office/drawing/2014/main" id="{0F3FF28E-2DBF-4A30-9824-7AEEE5DB5C18}"/>
              </a:ext>
            </a:extLst>
          </p:cNvPr>
          <p:cNvSpPr>
            <a:spLocks noGrp="1"/>
          </p:cNvSpPr>
          <p:nvPr>
            <p:ph type="body" sz="quarter" idx="13" hasCustomPrompt="1"/>
            <p:custDataLst>
              <p:tags r:id="rId3"/>
            </p:custDataLst>
          </p:nvPr>
        </p:nvSpPr>
        <p:spPr>
          <a:xfrm>
            <a:off x="550800" y="6210300"/>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D69A11EA-2D65-43CB-91C6-D357AC640203}"/>
              </a:ext>
            </a:extLst>
          </p:cNvPr>
          <p:cNvSpPr>
            <a:spLocks noGrp="1"/>
          </p:cNvSpPr>
          <p:nvPr>
            <p:ph type="subTitle" idx="1"/>
            <p:custDataLst>
              <p:tags r:id="rId4"/>
            </p:custDataLst>
          </p:nvPr>
        </p:nvSpPr>
        <p:spPr>
          <a:xfrm>
            <a:off x="551941" y="5750826"/>
            <a:ext cx="110828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1" name="Title">
            <a:extLst>
              <a:ext uri="{FF2B5EF4-FFF2-40B4-BE49-F238E27FC236}">
                <a16:creationId xmlns:a16="http://schemas.microsoft.com/office/drawing/2014/main" id="{648DC54C-5450-4B3E-8814-2A74A1321519}"/>
              </a:ext>
            </a:extLst>
          </p:cNvPr>
          <p:cNvSpPr>
            <a:spLocks noGrp="1"/>
          </p:cNvSpPr>
          <p:nvPr>
            <p:ph type="title" hasCustomPrompt="1"/>
            <p:custDataLst>
              <p:tags r:id="rId5"/>
            </p:custDataLst>
          </p:nvPr>
        </p:nvSpPr>
        <p:spPr>
          <a:xfrm>
            <a:off x="551941" y="4368023"/>
            <a:ext cx="11082847"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000" b="0" dirty="0">
                <a:solidFill>
                  <a:schemeClr val="bg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3455807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b="0" dirty="0">
                <a:solidFill>
                  <a:schemeClr val="accent1"/>
                </a:solidFill>
              </a:defRPr>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787BE07F-C63D-4F9D-8261-69288C91225B}"/>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1398826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44869802-E16F-4A28-8BBB-FC35B9F96FBB}"/>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896053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FC47757-6F87-455C-A654-7C75C57A1B88}"/>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2888527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C90085F-0C5D-430F-9D17-21159A8A971D}"/>
              </a:ext>
            </a:extLst>
          </p:cNvPr>
          <p:cNvSpPr>
            <a:spLocks noChangeArrowheads="1"/>
          </p:cNvSpPr>
          <p:nvPr userDrawn="1">
            <p:custDataLst>
              <p:tags r:id="rId6"/>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7510293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F8C573BE-9C2D-4EF2-A4D3-A79B8B1D3A42}"/>
              </a:ext>
            </a:extLst>
          </p:cNvPr>
          <p:cNvSpPr>
            <a:spLocks noChangeArrowheads="1"/>
          </p:cNvSpPr>
          <p:nvPr userDrawn="1">
            <p:custDataLst>
              <p:tags r:id="rId7"/>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70521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flipH="1">
            <a:off x="0" y="0"/>
            <a:ext cx="341376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60114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bg1"/>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42" name="Group 41">
            <a:extLst>
              <a:ext uri="{FF2B5EF4-FFF2-40B4-BE49-F238E27FC236}">
                <a16:creationId xmlns:a16="http://schemas.microsoft.com/office/drawing/2014/main" id="{DF90BE24-DAD5-40A0-8D1E-210869C38659}"/>
              </a:ext>
            </a:extLst>
          </p:cNvPr>
          <p:cNvGrpSpPr/>
          <p:nvPr userDrawn="1"/>
        </p:nvGrpSpPr>
        <p:grpSpPr>
          <a:xfrm>
            <a:off x="9318251" y="6528816"/>
            <a:ext cx="2033975" cy="256591"/>
            <a:chOff x="9596444" y="6528816"/>
            <a:chExt cx="2033975" cy="256591"/>
          </a:xfrm>
        </p:grpSpPr>
        <p:sp>
          <p:nvSpPr>
            <p:cNvPr id="28" name="Freeform: Shape 27">
              <a:extLst>
                <a:ext uri="{FF2B5EF4-FFF2-40B4-BE49-F238E27FC236}">
                  <a16:creationId xmlns:a16="http://schemas.microsoft.com/office/drawing/2014/main" id="{CF262B2A-5A0D-4E43-95E8-DD7617C0B554}"/>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grpSp>
          <p:nvGrpSpPr>
            <p:cNvPr id="8" name="Group 7">
              <a:extLst>
                <a:ext uri="{FF2B5EF4-FFF2-40B4-BE49-F238E27FC236}">
                  <a16:creationId xmlns:a16="http://schemas.microsoft.com/office/drawing/2014/main" id="{FAB479E1-AAA5-4223-906C-972BFAC08A5B}"/>
                </a:ext>
              </a:extLst>
            </p:cNvPr>
            <p:cNvGrpSpPr/>
            <p:nvPr userDrawn="1"/>
          </p:nvGrpSpPr>
          <p:grpSpPr>
            <a:xfrm>
              <a:off x="10651738" y="6635448"/>
              <a:ext cx="978681" cy="68285"/>
              <a:chOff x="10651738" y="6635448"/>
              <a:chExt cx="978681" cy="68285"/>
            </a:xfrm>
            <a:solidFill>
              <a:schemeClr val="tx1"/>
            </a:solidFill>
          </p:grpSpPr>
          <p:sp>
            <p:nvSpPr>
              <p:cNvPr id="29" name="Freeform: Shape 28">
                <a:extLst>
                  <a:ext uri="{FF2B5EF4-FFF2-40B4-BE49-F238E27FC236}">
                    <a16:creationId xmlns:a16="http://schemas.microsoft.com/office/drawing/2014/main" id="{3950F227-6E54-465D-9A6F-589A2C30AF74}"/>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grp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E7BE0C3-19B3-4063-A924-03969281275C}"/>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7794EB8C-307D-46FD-9128-1648DF6A9974}"/>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grp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16AD69D-2987-4D61-AC91-4C2280E39147}"/>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grp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1222EC3-084F-4FA5-AE2E-BE1EA133318A}"/>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grp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6E7C789-BFAF-4468-A29B-F92A1784C0FE}"/>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4C6DD3BF-B8E6-4D23-904E-0D4987EF1854}"/>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grp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053940B6-B5D3-479D-805F-BD6D9D3B13A0}"/>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grp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CA9029C-AE55-4498-9F30-9B304ADD00A6}"/>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grp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453AC4FE-E49F-4446-9822-E81FF4DE943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46F738A-79F5-40A0-91C4-9336C85BFD29}"/>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grp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9DA124E-6738-491C-88FE-D5F24C7F0EF4}"/>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grp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8EF10BD-4D9D-4353-B2C2-4D541A2A64C4}"/>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grpFill/>
              <a:ln w="9525"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716BE200-D122-419E-B9F6-951B77125BA3}"/>
                </a:ext>
              </a:extLst>
            </p:cNvPr>
            <p:cNvGrpSpPr/>
            <p:nvPr userDrawn="1"/>
          </p:nvGrpSpPr>
          <p:grpSpPr>
            <a:xfrm>
              <a:off x="9596444" y="6528816"/>
              <a:ext cx="978690" cy="218599"/>
              <a:chOff x="9596444" y="6528816"/>
              <a:chExt cx="978690" cy="218599"/>
            </a:xfrm>
          </p:grpSpPr>
          <p:pic>
            <p:nvPicPr>
              <p:cNvPr id="25" name="Picture 24" descr="Michigan among top 10 pro-business states, named most improved state in  CNBC rankings | Economic development, Pure michigan, Michigan">
                <a:extLst>
                  <a:ext uri="{FF2B5EF4-FFF2-40B4-BE49-F238E27FC236}">
                    <a16:creationId xmlns:a16="http://schemas.microsoft.com/office/drawing/2014/main" id="{E4B7F58D-27A1-4049-AB99-6D919A70E9C6}"/>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815" t="50755" r="52979" b="40362"/>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descr="Michigan among top 10 pro-business states, named most improved state in  CNBC rankings | Economic development, Pure michigan, Michigan">
                <a:extLst>
                  <a:ext uri="{FF2B5EF4-FFF2-40B4-BE49-F238E27FC236}">
                    <a16:creationId xmlns:a16="http://schemas.microsoft.com/office/drawing/2014/main" id="{C9E2E8C7-47BE-4CE7-B56F-D8833A6E75BC}"/>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grpSp>
        <p:pic>
          <p:nvPicPr>
            <p:cNvPr id="27" name="Picture 26" descr="Michigan among top 10 pro-business states, named most improved state in  CNBC rankings | Economic development, Pure michigan, Michigan">
              <a:extLst>
                <a:ext uri="{FF2B5EF4-FFF2-40B4-BE49-F238E27FC236}">
                  <a16:creationId xmlns:a16="http://schemas.microsoft.com/office/drawing/2014/main" id="{80BA5C73-1154-4FC0-8D0A-87A7645573A7}"/>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7963" t="34937" r="48877" b="36416"/>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43" name="Slide Number">
            <a:extLst>
              <a:ext uri="{FF2B5EF4-FFF2-40B4-BE49-F238E27FC236}">
                <a16:creationId xmlns:a16="http://schemas.microsoft.com/office/drawing/2014/main" id="{51E2DB51-23D5-4823-B0EF-8702ECF5E6D2}"/>
              </a:ext>
            </a:extLst>
          </p:cNvPr>
          <p:cNvSpPr>
            <a:spLocks noChangeArrowheads="1"/>
          </p:cNvSpPr>
          <p:nvPr userDrawn="1">
            <p:custDataLst>
              <p:tags r:id="rId8"/>
            </p:custDataLst>
          </p:nvPr>
        </p:nvSpPr>
        <p:spPr bwMode="black">
          <a:xfrm>
            <a:off x="11311763" y="6603476"/>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683672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811.xml"/><Relationship Id="rId13" Type="http://schemas.openxmlformats.org/officeDocument/2006/relationships/tags" Target="../tags/tag816.xml"/><Relationship Id="rId18" Type="http://schemas.openxmlformats.org/officeDocument/2006/relationships/tags" Target="../tags/tag821.xml"/><Relationship Id="rId3" Type="http://schemas.openxmlformats.org/officeDocument/2006/relationships/theme" Target="../theme/theme10.xml"/><Relationship Id="rId21" Type="http://schemas.openxmlformats.org/officeDocument/2006/relationships/oleObject" Target="../embeddings/oleObject110.bin"/><Relationship Id="rId7" Type="http://schemas.openxmlformats.org/officeDocument/2006/relationships/tags" Target="../tags/tag810.xml"/><Relationship Id="rId12" Type="http://schemas.openxmlformats.org/officeDocument/2006/relationships/tags" Target="../tags/tag815.xml"/><Relationship Id="rId17" Type="http://schemas.openxmlformats.org/officeDocument/2006/relationships/tags" Target="../tags/tag820.xml"/><Relationship Id="rId2" Type="http://schemas.openxmlformats.org/officeDocument/2006/relationships/slideLayout" Target="../slideLayouts/slideLayout116.xml"/><Relationship Id="rId16" Type="http://schemas.openxmlformats.org/officeDocument/2006/relationships/tags" Target="../tags/tag819.xml"/><Relationship Id="rId20" Type="http://schemas.openxmlformats.org/officeDocument/2006/relationships/tags" Target="../tags/tag823.xml"/><Relationship Id="rId1" Type="http://schemas.openxmlformats.org/officeDocument/2006/relationships/slideLayout" Target="../slideLayouts/slideLayout115.xml"/><Relationship Id="rId6" Type="http://schemas.openxmlformats.org/officeDocument/2006/relationships/tags" Target="../tags/tag809.xml"/><Relationship Id="rId11" Type="http://schemas.openxmlformats.org/officeDocument/2006/relationships/tags" Target="../tags/tag814.xml"/><Relationship Id="rId5" Type="http://schemas.openxmlformats.org/officeDocument/2006/relationships/tags" Target="../tags/tag808.xml"/><Relationship Id="rId15" Type="http://schemas.openxmlformats.org/officeDocument/2006/relationships/tags" Target="../tags/tag818.xml"/><Relationship Id="rId23" Type="http://schemas.openxmlformats.org/officeDocument/2006/relationships/image" Target="../media/image27.jpeg"/><Relationship Id="rId10" Type="http://schemas.openxmlformats.org/officeDocument/2006/relationships/tags" Target="../tags/tag813.xml"/><Relationship Id="rId19" Type="http://schemas.openxmlformats.org/officeDocument/2006/relationships/tags" Target="../tags/tag822.xml"/><Relationship Id="rId4" Type="http://schemas.openxmlformats.org/officeDocument/2006/relationships/tags" Target="../tags/tag807.xml"/><Relationship Id="rId9" Type="http://schemas.openxmlformats.org/officeDocument/2006/relationships/tags" Target="../tags/tag812.xml"/><Relationship Id="rId14" Type="http://schemas.openxmlformats.org/officeDocument/2006/relationships/tags" Target="../tags/tag817.xml"/><Relationship Id="rId22" Type="http://schemas.openxmlformats.org/officeDocument/2006/relationships/image" Target="../media/image21.emf"/></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9.xml"/><Relationship Id="rId7" Type="http://schemas.openxmlformats.org/officeDocument/2006/relationships/theme" Target="../theme/theme11.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image" Target="../media/image33.emf"/><Relationship Id="rId5" Type="http://schemas.openxmlformats.org/officeDocument/2006/relationships/slideLayout" Target="../slideLayouts/slideLayout138.xml"/><Relationship Id="rId10" Type="http://schemas.openxmlformats.org/officeDocument/2006/relationships/oleObject" Target="../embeddings/oleObject115.bin"/><Relationship Id="rId4" Type="http://schemas.openxmlformats.org/officeDocument/2006/relationships/slideLayout" Target="../slideLayouts/slideLayout137.xml"/><Relationship Id="rId9" Type="http://schemas.openxmlformats.org/officeDocument/2006/relationships/tags" Target="../tags/tag831.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842.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theme" Target="../theme/theme14.xml"/><Relationship Id="rId21" Type="http://schemas.openxmlformats.org/officeDocument/2006/relationships/oleObject" Target="../embeddings/oleObject122.bin"/><Relationship Id="rId7" Type="http://schemas.openxmlformats.org/officeDocument/2006/relationships/tags" Target="../tags/tag841.xml"/><Relationship Id="rId12" Type="http://schemas.openxmlformats.org/officeDocument/2006/relationships/tags" Target="../tags/tag846.xml"/><Relationship Id="rId17" Type="http://schemas.openxmlformats.org/officeDocument/2006/relationships/tags" Target="../tags/tag851.xml"/><Relationship Id="rId2" Type="http://schemas.openxmlformats.org/officeDocument/2006/relationships/slideLayout" Target="../slideLayouts/slideLayout142.xml"/><Relationship Id="rId16" Type="http://schemas.openxmlformats.org/officeDocument/2006/relationships/tags" Target="../tags/tag850.xml"/><Relationship Id="rId20" Type="http://schemas.openxmlformats.org/officeDocument/2006/relationships/tags" Target="../tags/tag854.xml"/><Relationship Id="rId1" Type="http://schemas.openxmlformats.org/officeDocument/2006/relationships/slideLayout" Target="../slideLayouts/slideLayout141.xml"/><Relationship Id="rId6" Type="http://schemas.openxmlformats.org/officeDocument/2006/relationships/tags" Target="../tags/tag840.xml"/><Relationship Id="rId11" Type="http://schemas.openxmlformats.org/officeDocument/2006/relationships/tags" Target="../tags/tag845.xml"/><Relationship Id="rId5" Type="http://schemas.openxmlformats.org/officeDocument/2006/relationships/tags" Target="../tags/tag839.xml"/><Relationship Id="rId15" Type="http://schemas.openxmlformats.org/officeDocument/2006/relationships/tags" Target="../tags/tag849.xml"/><Relationship Id="rId23" Type="http://schemas.openxmlformats.org/officeDocument/2006/relationships/image" Target="../media/image27.jpeg"/><Relationship Id="rId10" Type="http://schemas.openxmlformats.org/officeDocument/2006/relationships/tags" Target="../tags/tag844.xml"/><Relationship Id="rId19" Type="http://schemas.openxmlformats.org/officeDocument/2006/relationships/tags" Target="../tags/tag853.xml"/><Relationship Id="rId4" Type="http://schemas.openxmlformats.org/officeDocument/2006/relationships/tags" Target="../tags/tag838.xml"/><Relationship Id="rId9" Type="http://schemas.openxmlformats.org/officeDocument/2006/relationships/tags" Target="../tags/tag843.xml"/><Relationship Id="rId14" Type="http://schemas.openxmlformats.org/officeDocument/2006/relationships/tags" Target="../tags/tag848.xml"/><Relationship Id="rId22" Type="http://schemas.openxmlformats.org/officeDocument/2006/relationships/image" Target="../media/image2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tags" Target="../tags/tag3.xml"/><Relationship Id="rId26" Type="http://schemas.openxmlformats.org/officeDocument/2006/relationships/tags" Target="../tags/tag11.xml"/><Relationship Id="rId39" Type="http://schemas.microsoft.com/office/2007/relationships/hdphoto" Target="../media/hdphoto1.wdp"/><Relationship Id="rId21" Type="http://schemas.openxmlformats.org/officeDocument/2006/relationships/tags" Target="../tags/tag6.xml"/><Relationship Id="rId34" Type="http://schemas.openxmlformats.org/officeDocument/2006/relationships/tags" Target="../tags/tag19.xml"/><Relationship Id="rId42" Type="http://schemas.microsoft.com/office/2007/relationships/hdphoto" Target="../media/hdphoto2.wdp"/><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image" Target="../media/image3.emf"/><Relationship Id="rId40" Type="http://schemas.openxmlformats.org/officeDocument/2006/relationships/image" Target="../media/image5.png"/><Relationship Id="rId5" Type="http://schemas.openxmlformats.org/officeDocument/2006/relationships/slideLayout" Target="../slideLayouts/slideLayout10.xml"/><Relationship Id="rId15" Type="http://schemas.openxmlformats.org/officeDocument/2006/relationships/theme" Target="../theme/theme2.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oleObject" Target="../embeddings/oleObject1.bin"/><Relationship Id="rId10" Type="http://schemas.openxmlformats.org/officeDocument/2006/relationships/slideLayout" Target="../slideLayouts/slideLayout15.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tags" Target="../tags/tag112.xml"/><Relationship Id="rId26" Type="http://schemas.openxmlformats.org/officeDocument/2006/relationships/tags" Target="../tags/tag120.xml"/><Relationship Id="rId39" Type="http://schemas.microsoft.com/office/2007/relationships/hdphoto" Target="../media/hdphoto1.wdp"/><Relationship Id="rId21" Type="http://schemas.openxmlformats.org/officeDocument/2006/relationships/tags" Target="../tags/tag115.xml"/><Relationship Id="rId34" Type="http://schemas.openxmlformats.org/officeDocument/2006/relationships/tags" Target="../tags/tag128.xml"/><Relationship Id="rId42" Type="http://schemas.microsoft.com/office/2007/relationships/hdphoto" Target="../media/hdphoto2.wdp"/><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41" Type="http://schemas.openxmlformats.org/officeDocument/2006/relationships/image" Target="../media/image6.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118.xml"/><Relationship Id="rId32" Type="http://schemas.openxmlformats.org/officeDocument/2006/relationships/tags" Target="../tags/tag126.xml"/><Relationship Id="rId37" Type="http://schemas.openxmlformats.org/officeDocument/2006/relationships/image" Target="../media/image3.emf"/><Relationship Id="rId40" Type="http://schemas.openxmlformats.org/officeDocument/2006/relationships/image" Target="../media/image5.png"/><Relationship Id="rId5" Type="http://schemas.openxmlformats.org/officeDocument/2006/relationships/slideLayout" Target="../slideLayouts/slideLayout24.xml"/><Relationship Id="rId15" Type="http://schemas.openxmlformats.org/officeDocument/2006/relationships/theme" Target="../theme/theme3.xml"/><Relationship Id="rId23" Type="http://schemas.openxmlformats.org/officeDocument/2006/relationships/tags" Target="../tags/tag117.xml"/><Relationship Id="rId28" Type="http://schemas.openxmlformats.org/officeDocument/2006/relationships/tags" Target="../tags/tag122.xml"/><Relationship Id="rId36" Type="http://schemas.openxmlformats.org/officeDocument/2006/relationships/oleObject" Target="../embeddings/oleObject16.bin"/><Relationship Id="rId10" Type="http://schemas.openxmlformats.org/officeDocument/2006/relationships/slideLayout" Target="../slideLayouts/slideLayout29.xml"/><Relationship Id="rId19" Type="http://schemas.openxmlformats.org/officeDocument/2006/relationships/tags" Target="../tags/tag113.xml"/><Relationship Id="rId31" Type="http://schemas.openxmlformats.org/officeDocument/2006/relationships/tags" Target="../tags/tag125.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35" Type="http://schemas.openxmlformats.org/officeDocument/2006/relationships/tags" Target="../tags/tag129.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tags" Target="../tags/tag127.xml"/><Relationship Id="rId38"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slideLayout" Target="../slideLayouts/slideLayout54.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image" Target="../media/image14.png"/><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tags" Target="../tags/tag225.xml"/><Relationship Id="rId11" Type="http://schemas.openxmlformats.org/officeDocument/2006/relationships/slideLayout" Target="../slideLayouts/slideLayout44.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image" Target="../media/image13.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49" Type="http://schemas.microsoft.com/office/2007/relationships/hdphoto" Target="../media/hdphoto5.wdp"/><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tags" Target="../tags/tag227.xml"/><Relationship Id="rId44" Type="http://schemas.openxmlformats.org/officeDocument/2006/relationships/image" Target="../media/image3.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4.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oleObject" Target="../embeddings/oleObject31.bin"/><Relationship Id="rId48" Type="http://schemas.openxmlformats.org/officeDocument/2006/relationships/image" Target="../media/image15.png"/><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microsoft.com/office/2007/relationships/hdphoto" Target="../media/hdphoto4.wdp"/><Relationship Id="rId20" Type="http://schemas.openxmlformats.org/officeDocument/2006/relationships/slideLayout" Target="../slideLayouts/slideLayout53.xml"/><Relationship Id="rId41" Type="http://schemas.openxmlformats.org/officeDocument/2006/relationships/tags" Target="../tags/tag237.xml"/><Relationship Id="rId1" Type="http://schemas.openxmlformats.org/officeDocument/2006/relationships/slideLayout" Target="../slideLayouts/slideLayout34.xml"/><Relationship Id="rId6"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ags" Target="../tags/tag369.xml"/><Relationship Id="rId39" Type="http://schemas.openxmlformats.org/officeDocument/2006/relationships/tags" Target="../tags/tag382.xml"/><Relationship Id="rId21" Type="http://schemas.openxmlformats.org/officeDocument/2006/relationships/tags" Target="../tags/tag364.xml"/><Relationship Id="rId34" Type="http://schemas.openxmlformats.org/officeDocument/2006/relationships/tags" Target="../tags/tag377.xml"/><Relationship Id="rId42" Type="http://schemas.openxmlformats.org/officeDocument/2006/relationships/oleObject" Target="../embeddings/oleObject50.bin"/><Relationship Id="rId47" Type="http://schemas.openxmlformats.org/officeDocument/2006/relationships/image" Target="../media/image15.png"/><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tags" Target="../tags/tag372.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367.xml"/><Relationship Id="rId32" Type="http://schemas.openxmlformats.org/officeDocument/2006/relationships/tags" Target="../tags/tag375.xml"/><Relationship Id="rId37" Type="http://schemas.openxmlformats.org/officeDocument/2006/relationships/tags" Target="../tags/tag380.xml"/><Relationship Id="rId40" Type="http://schemas.openxmlformats.org/officeDocument/2006/relationships/tags" Target="../tags/tag383.xml"/><Relationship Id="rId45" Type="http://schemas.microsoft.com/office/2007/relationships/hdphoto" Target="../media/hdphoto7.wdp"/><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ags" Target="../tags/tag366.xml"/><Relationship Id="rId28" Type="http://schemas.openxmlformats.org/officeDocument/2006/relationships/tags" Target="../tags/tag371.xml"/><Relationship Id="rId36" Type="http://schemas.openxmlformats.org/officeDocument/2006/relationships/tags" Target="../tags/tag37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tags" Target="../tags/tag374.xml"/><Relationship Id="rId44" Type="http://schemas.openxmlformats.org/officeDocument/2006/relationships/image" Target="../media/image13.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ags" Target="../tags/tag365.xml"/><Relationship Id="rId27" Type="http://schemas.openxmlformats.org/officeDocument/2006/relationships/tags" Target="../tags/tag370.xml"/><Relationship Id="rId30" Type="http://schemas.openxmlformats.org/officeDocument/2006/relationships/tags" Target="../tags/tag373.xml"/><Relationship Id="rId35" Type="http://schemas.openxmlformats.org/officeDocument/2006/relationships/tags" Target="../tags/tag378.xml"/><Relationship Id="rId43" Type="http://schemas.openxmlformats.org/officeDocument/2006/relationships/image" Target="../media/image7.emf"/><Relationship Id="rId48" Type="http://schemas.microsoft.com/office/2007/relationships/hdphoto" Target="../media/hdphoto8.wdp"/><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tags" Target="../tags/tag368.xml"/><Relationship Id="rId33" Type="http://schemas.openxmlformats.org/officeDocument/2006/relationships/tags" Target="../tags/tag376.xml"/><Relationship Id="rId38" Type="http://schemas.openxmlformats.org/officeDocument/2006/relationships/tags" Target="../tags/tag381.xml"/><Relationship Id="rId46" Type="http://schemas.openxmlformats.org/officeDocument/2006/relationships/image" Target="../media/image14.png"/><Relationship Id="rId20" Type="http://schemas.openxmlformats.org/officeDocument/2006/relationships/theme" Target="../theme/theme5.xml"/><Relationship Id="rId41" Type="http://schemas.openxmlformats.org/officeDocument/2006/relationships/tags" Target="../tags/tag38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tags" Target="../tags/tag505.xml"/><Relationship Id="rId26" Type="http://schemas.openxmlformats.org/officeDocument/2006/relationships/tags" Target="../tags/tag513.xml"/><Relationship Id="rId39" Type="http://schemas.openxmlformats.org/officeDocument/2006/relationships/image" Target="../media/image4.png"/><Relationship Id="rId21" Type="http://schemas.openxmlformats.org/officeDocument/2006/relationships/tags" Target="../tags/tag508.xml"/><Relationship Id="rId34" Type="http://schemas.openxmlformats.org/officeDocument/2006/relationships/tags" Target="../tags/tag521.xml"/><Relationship Id="rId42" Type="http://schemas.openxmlformats.org/officeDocument/2006/relationships/image" Target="../media/image6.png"/><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theme" Target="../theme/theme6.xml"/><Relationship Id="rId20" Type="http://schemas.openxmlformats.org/officeDocument/2006/relationships/tags" Target="../tags/tag507.xml"/><Relationship Id="rId29" Type="http://schemas.openxmlformats.org/officeDocument/2006/relationships/tags" Target="../tags/tag516.xml"/><Relationship Id="rId41" Type="http://schemas.openxmlformats.org/officeDocument/2006/relationships/image" Target="../media/image5.png"/><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ags" Target="../tags/tag511.xml"/><Relationship Id="rId32" Type="http://schemas.openxmlformats.org/officeDocument/2006/relationships/tags" Target="../tags/tag519.xml"/><Relationship Id="rId37" Type="http://schemas.openxmlformats.org/officeDocument/2006/relationships/oleObject" Target="../embeddings/oleObject69.bin"/><Relationship Id="rId40" Type="http://schemas.microsoft.com/office/2007/relationships/hdphoto" Target="../media/hdphoto1.wdp"/><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510.xml"/><Relationship Id="rId28" Type="http://schemas.openxmlformats.org/officeDocument/2006/relationships/tags" Target="../tags/tag515.xml"/><Relationship Id="rId36" Type="http://schemas.openxmlformats.org/officeDocument/2006/relationships/tags" Target="../tags/tag523.xml"/><Relationship Id="rId10" Type="http://schemas.openxmlformats.org/officeDocument/2006/relationships/slideLayout" Target="../slideLayouts/slideLayout83.xml"/><Relationship Id="rId19" Type="http://schemas.openxmlformats.org/officeDocument/2006/relationships/tags" Target="../tags/tag506.xml"/><Relationship Id="rId31" Type="http://schemas.openxmlformats.org/officeDocument/2006/relationships/tags" Target="../tags/tag518.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ags" Target="../tags/tag509.xml"/><Relationship Id="rId27" Type="http://schemas.openxmlformats.org/officeDocument/2006/relationships/tags" Target="../tags/tag514.xml"/><Relationship Id="rId30" Type="http://schemas.openxmlformats.org/officeDocument/2006/relationships/tags" Target="../tags/tag517.xml"/><Relationship Id="rId35" Type="http://schemas.openxmlformats.org/officeDocument/2006/relationships/tags" Target="../tags/tag522.xml"/><Relationship Id="rId43" Type="http://schemas.microsoft.com/office/2007/relationships/hdphoto" Target="../media/hdphoto2.wdp"/><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tags" Target="../tags/tag504.xml"/><Relationship Id="rId25" Type="http://schemas.openxmlformats.org/officeDocument/2006/relationships/tags" Target="../tags/tag512.xml"/><Relationship Id="rId33" Type="http://schemas.openxmlformats.org/officeDocument/2006/relationships/tags" Target="../tags/tag520.xml"/><Relationship Id="rId38"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theme" Target="../theme/theme7.xml"/><Relationship Id="rId21" Type="http://schemas.openxmlformats.org/officeDocument/2006/relationships/oleObject" Target="../embeddings/oleObject84.bin"/><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90.xml"/><Relationship Id="rId16" Type="http://schemas.openxmlformats.org/officeDocument/2006/relationships/tags" Target="../tags/tag625.xml"/><Relationship Id="rId20" Type="http://schemas.openxmlformats.org/officeDocument/2006/relationships/tags" Target="../tags/tag629.xml"/><Relationship Id="rId1" Type="http://schemas.openxmlformats.org/officeDocument/2006/relationships/slideLayout" Target="../slideLayouts/slideLayout89.xml"/><Relationship Id="rId6" Type="http://schemas.openxmlformats.org/officeDocument/2006/relationships/tags" Target="../tags/tag615.xml"/><Relationship Id="rId11" Type="http://schemas.openxmlformats.org/officeDocument/2006/relationships/tags" Target="../tags/tag620.xm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image" Target="../media/image22.jpeg"/><Relationship Id="rId10" Type="http://schemas.openxmlformats.org/officeDocument/2006/relationships/tags" Target="../tags/tag619.xml"/><Relationship Id="rId19" Type="http://schemas.openxmlformats.org/officeDocument/2006/relationships/tags" Target="../tags/tag628.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image" Target="../media/image21.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38.xml"/><Relationship Id="rId13" Type="http://schemas.openxmlformats.org/officeDocument/2006/relationships/tags" Target="../tags/tag643.xml"/><Relationship Id="rId18" Type="http://schemas.openxmlformats.org/officeDocument/2006/relationships/tags" Target="../tags/tag648.xml"/><Relationship Id="rId3" Type="http://schemas.openxmlformats.org/officeDocument/2006/relationships/theme" Target="../theme/theme8.xml"/><Relationship Id="rId21" Type="http://schemas.openxmlformats.org/officeDocument/2006/relationships/oleObject" Target="../embeddings/oleObject87.bin"/><Relationship Id="rId7" Type="http://schemas.openxmlformats.org/officeDocument/2006/relationships/tags" Target="../tags/tag637.xml"/><Relationship Id="rId12" Type="http://schemas.openxmlformats.org/officeDocument/2006/relationships/tags" Target="../tags/tag642.xml"/><Relationship Id="rId17" Type="http://schemas.openxmlformats.org/officeDocument/2006/relationships/tags" Target="../tags/tag647.xml"/><Relationship Id="rId2" Type="http://schemas.openxmlformats.org/officeDocument/2006/relationships/slideLayout" Target="../slideLayouts/slideLayout92.xml"/><Relationship Id="rId16" Type="http://schemas.openxmlformats.org/officeDocument/2006/relationships/tags" Target="../tags/tag646.xml"/><Relationship Id="rId20" Type="http://schemas.openxmlformats.org/officeDocument/2006/relationships/tags" Target="../tags/tag650.xml"/><Relationship Id="rId1" Type="http://schemas.openxmlformats.org/officeDocument/2006/relationships/slideLayout" Target="../slideLayouts/slideLayout91.xml"/><Relationship Id="rId6" Type="http://schemas.openxmlformats.org/officeDocument/2006/relationships/tags" Target="../tags/tag636.xml"/><Relationship Id="rId11" Type="http://schemas.openxmlformats.org/officeDocument/2006/relationships/tags" Target="../tags/tag641.xml"/><Relationship Id="rId5" Type="http://schemas.openxmlformats.org/officeDocument/2006/relationships/tags" Target="../tags/tag635.xml"/><Relationship Id="rId15" Type="http://schemas.openxmlformats.org/officeDocument/2006/relationships/tags" Target="../tags/tag645.xml"/><Relationship Id="rId23" Type="http://schemas.openxmlformats.org/officeDocument/2006/relationships/image" Target="../media/image22.jpeg"/><Relationship Id="rId10" Type="http://schemas.openxmlformats.org/officeDocument/2006/relationships/tags" Target="../tags/tag640.xml"/><Relationship Id="rId19" Type="http://schemas.openxmlformats.org/officeDocument/2006/relationships/tags" Target="../tags/tag649.xml"/><Relationship Id="rId4" Type="http://schemas.openxmlformats.org/officeDocument/2006/relationships/tags" Target="../tags/tag634.xml"/><Relationship Id="rId9" Type="http://schemas.openxmlformats.org/officeDocument/2006/relationships/tags" Target="../tags/tag639.xml"/><Relationship Id="rId14" Type="http://schemas.openxmlformats.org/officeDocument/2006/relationships/tags" Target="../tags/tag644.xml"/><Relationship Id="rId22" Type="http://schemas.openxmlformats.org/officeDocument/2006/relationships/image" Target="../media/image21.emf"/></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ags" Target="../tags/tag657.xml"/><Relationship Id="rId39" Type="http://schemas.openxmlformats.org/officeDocument/2006/relationships/tags" Target="../tags/tag670.xml"/><Relationship Id="rId21" Type="http://schemas.openxmlformats.org/officeDocument/2006/relationships/slideLayout" Target="../slideLayouts/slideLayout113.xml"/><Relationship Id="rId34" Type="http://schemas.openxmlformats.org/officeDocument/2006/relationships/tags" Target="../tags/tag665.xml"/><Relationship Id="rId42" Type="http://schemas.openxmlformats.org/officeDocument/2006/relationships/tags" Target="../tags/tag673.xml"/><Relationship Id="rId47" Type="http://schemas.microsoft.com/office/2007/relationships/hdphoto" Target="../media/hdphoto7.wdp"/><Relationship Id="rId50" Type="http://schemas.microsoft.com/office/2007/relationships/hdphoto" Target="../media/hdphoto8.wdp"/><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tags" Target="../tags/tag660.xml"/><Relationship Id="rId11" Type="http://schemas.openxmlformats.org/officeDocument/2006/relationships/slideLayout" Target="../slideLayouts/slideLayout103.xml"/><Relationship Id="rId24" Type="http://schemas.openxmlformats.org/officeDocument/2006/relationships/tags" Target="../tags/tag655.xml"/><Relationship Id="rId32" Type="http://schemas.openxmlformats.org/officeDocument/2006/relationships/tags" Target="../tags/tag663.xml"/><Relationship Id="rId37" Type="http://schemas.openxmlformats.org/officeDocument/2006/relationships/tags" Target="../tags/tag668.xml"/><Relationship Id="rId40" Type="http://schemas.openxmlformats.org/officeDocument/2006/relationships/tags" Target="../tags/tag671.xml"/><Relationship Id="rId45" Type="http://schemas.openxmlformats.org/officeDocument/2006/relationships/image" Target="../media/image3.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9.xml"/><Relationship Id="rId28" Type="http://schemas.openxmlformats.org/officeDocument/2006/relationships/tags" Target="../tags/tag659.xml"/><Relationship Id="rId36" Type="http://schemas.openxmlformats.org/officeDocument/2006/relationships/tags" Target="../tags/tag667.xml"/><Relationship Id="rId49" Type="http://schemas.openxmlformats.org/officeDocument/2006/relationships/image" Target="../media/image15.png"/><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ags" Target="../tags/tag662.xml"/><Relationship Id="rId44" Type="http://schemas.openxmlformats.org/officeDocument/2006/relationships/oleObject" Target="../embeddings/oleObject90.bin"/><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tags" Target="../tags/tag658.xml"/><Relationship Id="rId30" Type="http://schemas.openxmlformats.org/officeDocument/2006/relationships/tags" Target="../tags/tag661.xml"/><Relationship Id="rId35" Type="http://schemas.openxmlformats.org/officeDocument/2006/relationships/tags" Target="../tags/tag666.xml"/><Relationship Id="rId43" Type="http://schemas.openxmlformats.org/officeDocument/2006/relationships/tags" Target="../tags/tag674.xml"/><Relationship Id="rId48" Type="http://schemas.openxmlformats.org/officeDocument/2006/relationships/image" Target="../media/image14.png"/><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ags" Target="../tags/tag656.xml"/><Relationship Id="rId33" Type="http://schemas.openxmlformats.org/officeDocument/2006/relationships/tags" Target="../tags/tag664.xml"/><Relationship Id="rId38" Type="http://schemas.openxmlformats.org/officeDocument/2006/relationships/tags" Target="../tags/tag669.xml"/><Relationship Id="rId46" Type="http://schemas.openxmlformats.org/officeDocument/2006/relationships/image" Target="../media/image13.png"/><Relationship Id="rId20" Type="http://schemas.openxmlformats.org/officeDocument/2006/relationships/slideLayout" Target="../slideLayouts/slideLayout112.xml"/><Relationship Id="rId41" Type="http://schemas.openxmlformats.org/officeDocument/2006/relationships/tags" Target="../tags/tag672.xml"/><Relationship Id="rId1" Type="http://schemas.openxmlformats.org/officeDocument/2006/relationships/slideLayout" Target="../slideLayouts/slideLayout93.xml"/><Relationship Id="rId6"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8CB1D-CF7F-4E96-A146-25608F5BAE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315C5-6367-4229-9395-3D5E5824C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8284BE-44DA-4740-A857-0E3AA08EA8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C331AA-1AF6-43BB-B061-CD276C837375}" type="datetimeFigureOut">
              <a:rPr lang="en-US" smtClean="0"/>
              <a:t>2/14/23</a:t>
            </a:fld>
            <a:endParaRPr lang="en-US" dirty="0"/>
          </a:p>
        </p:txBody>
      </p:sp>
      <p:sp>
        <p:nvSpPr>
          <p:cNvPr id="5" name="Footer Placeholder 4">
            <a:extLst>
              <a:ext uri="{FF2B5EF4-FFF2-40B4-BE49-F238E27FC236}">
                <a16:creationId xmlns:a16="http://schemas.microsoft.com/office/drawing/2014/main" id="{36915E97-4113-413F-B035-0E33405410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A9B36A4-5B4A-42E7-82C4-1C7701E0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8A9E0-E3F6-4E54-A054-7FE66453E097}" type="slidenum">
              <a:rPr lang="en-US" smtClean="0"/>
              <a:t>‹#›</a:t>
            </a:fld>
            <a:endParaRPr lang="en-US" dirty="0"/>
          </a:p>
        </p:txBody>
      </p:sp>
    </p:spTree>
    <p:extLst>
      <p:ext uri="{BB962C8B-B14F-4D97-AF65-F5344CB8AC3E}">
        <p14:creationId xmlns:p14="http://schemas.microsoft.com/office/powerpoint/2010/main" val="117842578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xStyles>
    <p:titleStyle>
      <a:lvl1pPr algn="l" defTabSz="914400" rtl="0" eaLnBrk="1" latinLnBrk="0" hangingPunct="1">
        <a:lnSpc>
          <a:spcPct val="90000"/>
        </a:lnSpc>
        <a:spcBef>
          <a:spcPct val="0"/>
        </a:spcBef>
        <a:buNone/>
        <a:defRPr sz="4400" kern="1200">
          <a:solidFill>
            <a:schemeClr val="tx1"/>
          </a:solidFill>
          <a:latin typeface="Avenir Next LT Pro"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print">
              <a:extLst>
                <a:ext uri="{28A0092B-C50C-407E-A947-70E740481C1C}">
                  <a14:useLocalDpi xmlns:a14="http://schemas.microsoft.com/office/drawing/2010/main" val="0"/>
                </a:ext>
              </a:extLst>
            </a:blip>
            <a:srcRect l="2481" t="87528" b="4771"/>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3981167081"/>
      </p:ext>
    </p:extLst>
  </p:cSld>
  <p:clrMap bg1="lt1" tx1="dk1" bg2="lt2" tx2="dk2" accent1="accent1" accent2="accent2" accent3="accent3" accent4="accent4" accent5="accent5" accent6="accent6" hlink="hlink" folHlink="folHlink"/>
  <p:sldLayoutIdLst>
    <p:sldLayoutId id="2147483837" r:id="rId1"/>
    <p:sldLayoutId id="2147483838" r:id="rId2"/>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8CB1D-CF7F-4E96-A146-25608F5BAE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A3315C5-6367-4229-9395-3D5E5824C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E8284BE-44DA-4740-A857-0E3AA08EA8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C331AA-1AF6-43BB-B061-CD276C837375}" type="datetimeFigureOut">
              <a:rPr lang="en-US" smtClean="0"/>
              <a:t>2/14/23</a:t>
            </a:fld>
            <a:endParaRPr lang="en-US" dirty="0"/>
          </a:p>
        </p:txBody>
      </p:sp>
      <p:sp>
        <p:nvSpPr>
          <p:cNvPr id="5" name="Footer Placeholder 4">
            <a:extLst>
              <a:ext uri="{FF2B5EF4-FFF2-40B4-BE49-F238E27FC236}">
                <a16:creationId xmlns:a16="http://schemas.microsoft.com/office/drawing/2014/main" id="{36915E97-4113-413F-B035-0E33405410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A9B36A4-5B4A-42E7-82C4-1C7701E0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8A9E0-E3F6-4E54-A054-7FE66453E097}" type="slidenum">
              <a:rPr lang="en-US" smtClean="0"/>
              <a:t>‹#›</a:t>
            </a:fld>
            <a:endParaRPr lang="en-US" dirty="0"/>
          </a:p>
        </p:txBody>
      </p:sp>
    </p:spTree>
    <p:extLst>
      <p:ext uri="{BB962C8B-B14F-4D97-AF65-F5344CB8AC3E}">
        <p14:creationId xmlns:p14="http://schemas.microsoft.com/office/powerpoint/2010/main" val="715518778"/>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Lst>
  <p:txStyles>
    <p:titleStyle>
      <a:lvl1pPr algn="l" defTabSz="914400" rtl="0" eaLnBrk="1" latinLnBrk="0" hangingPunct="1">
        <a:lnSpc>
          <a:spcPct val="90000"/>
        </a:lnSpc>
        <a:spcBef>
          <a:spcPct val="0"/>
        </a:spcBef>
        <a:buNone/>
        <a:defRPr sz="4400" kern="1200">
          <a:solidFill>
            <a:schemeClr val="tx1"/>
          </a:solidFill>
          <a:latin typeface="Avenir Next LT Pro"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B97344-BD43-4B33-B0A5-21BADC63B4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B1E281-1A72-434F-82B5-3B9B84B696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4505B61-6016-4C5D-88CC-F9869E9C96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Regular"/>
              </a:defRPr>
            </a:lvl1pPr>
          </a:lstStyle>
          <a:p>
            <a:fld id="{038F9F41-062A-4F02-B617-2045BA1AF702}" type="datetimeFigureOut">
              <a:rPr lang="en-US" smtClean="0"/>
              <a:pPr/>
              <a:t>2/14/23</a:t>
            </a:fld>
            <a:endParaRPr lang="en-US" dirty="0"/>
          </a:p>
        </p:txBody>
      </p:sp>
      <p:sp>
        <p:nvSpPr>
          <p:cNvPr id="5" name="Footer Placeholder 4">
            <a:extLst>
              <a:ext uri="{FF2B5EF4-FFF2-40B4-BE49-F238E27FC236}">
                <a16:creationId xmlns:a16="http://schemas.microsoft.com/office/drawing/2014/main" id="{3C8C5FE0-0538-4436-9392-EC5FE63A27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Regular"/>
              </a:defRPr>
            </a:lvl1pPr>
          </a:lstStyle>
          <a:p>
            <a:endParaRPr lang="en-US" dirty="0"/>
          </a:p>
        </p:txBody>
      </p:sp>
      <p:sp>
        <p:nvSpPr>
          <p:cNvPr id="6" name="Slide Number Placeholder 5">
            <a:extLst>
              <a:ext uri="{FF2B5EF4-FFF2-40B4-BE49-F238E27FC236}">
                <a16:creationId xmlns:a16="http://schemas.microsoft.com/office/drawing/2014/main" id="{D63C5FEC-45C4-4143-8CDB-BC0B108838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Regular"/>
              </a:defRPr>
            </a:lvl1pPr>
          </a:lstStyle>
          <a:p>
            <a:fld id="{9F8A271A-AEEB-4EFF-A407-F284E4027385}" type="slidenum">
              <a:rPr lang="en-US" smtClean="0"/>
              <a:pPr/>
              <a:t>‹#›</a:t>
            </a:fld>
            <a:endParaRPr lang="en-US" dirty="0"/>
          </a:p>
        </p:txBody>
      </p:sp>
    </p:spTree>
    <p:extLst>
      <p:ext uri="{BB962C8B-B14F-4D97-AF65-F5344CB8AC3E}">
        <p14:creationId xmlns:p14="http://schemas.microsoft.com/office/powerpoint/2010/main" val="3773262570"/>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Regular"/>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Regular"/>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Regular"/>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Regular"/>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Regular"/>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638991AC-CE26-4CE8-95AA-59458D178649}"/>
              </a:ext>
            </a:extLst>
          </p:cNvPr>
          <p:cNvGraphicFramePr>
            <a:graphicFrameLocks noChangeAspect="1"/>
          </p:cNvGraphicFramePr>
          <p:nvPr userDrawn="1">
            <p:custDataLst>
              <p:tags r:id="rId9"/>
            </p:custDataLst>
            <p:extLst>
              <p:ext uri="{D42A27DB-BD31-4B8C-83A1-F6EECF244321}">
                <p14:modId xmlns:p14="http://schemas.microsoft.com/office/powerpoint/2010/main" val="1455297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3" imgH="357" progId="TCLayout.ActiveDocument.1">
                  <p:embed/>
                </p:oleObj>
              </mc:Choice>
              <mc:Fallback>
                <p:oleObj name="think-cell Slide" r:id="rId10" imgW="353" imgH="357" progId="TCLayout.ActiveDocument.1">
                  <p:embed/>
                  <p:pic>
                    <p:nvPicPr>
                      <p:cNvPr id="17" name="Object 16" hidden="1">
                        <a:extLst>
                          <a:ext uri="{FF2B5EF4-FFF2-40B4-BE49-F238E27FC236}">
                            <a16:creationId xmlns:a16="http://schemas.microsoft.com/office/drawing/2014/main" id="{638991AC-CE26-4CE8-95AA-59458D17864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7A8CB1D-CF7F-4E96-A146-25608F5BAEF8}"/>
              </a:ext>
            </a:extLst>
          </p:cNvPr>
          <p:cNvSpPr>
            <a:spLocks noGrp="1"/>
          </p:cNvSpPr>
          <p:nvPr>
            <p:ph type="title"/>
          </p:nvPr>
        </p:nvSpPr>
        <p:spPr>
          <a:xfrm>
            <a:off x="838200" y="365126"/>
            <a:ext cx="10515600" cy="74046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3315C5-6367-4229-9395-3D5E5824C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8284BE-44DA-4740-A857-0E3AA08EA8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BBC331AA-1AF6-43BB-B061-CD276C837375}" type="datetimeFigureOut">
              <a:rPr lang="en-US" smtClean="0"/>
              <a:pPr/>
              <a:t>2/14/23</a:t>
            </a:fld>
            <a:endParaRPr lang="en-US" dirty="0"/>
          </a:p>
        </p:txBody>
      </p:sp>
      <p:sp>
        <p:nvSpPr>
          <p:cNvPr id="5" name="Footer Placeholder 4">
            <a:extLst>
              <a:ext uri="{FF2B5EF4-FFF2-40B4-BE49-F238E27FC236}">
                <a16:creationId xmlns:a16="http://schemas.microsoft.com/office/drawing/2014/main" id="{36915E97-4113-413F-B035-0E33405410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US" dirty="0"/>
          </a:p>
        </p:txBody>
      </p:sp>
      <p:sp>
        <p:nvSpPr>
          <p:cNvPr id="6" name="Slide Number Placeholder 5">
            <a:extLst>
              <a:ext uri="{FF2B5EF4-FFF2-40B4-BE49-F238E27FC236}">
                <a16:creationId xmlns:a16="http://schemas.microsoft.com/office/drawing/2014/main" id="{DA9B36A4-5B4A-42E7-82C4-1C7701E0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F538A9E0-E3F6-4E54-A054-7FE66453E097}" type="slidenum">
              <a:rPr lang="en-US" smtClean="0"/>
              <a:pPr/>
              <a:t>‹#›</a:t>
            </a:fld>
            <a:endParaRPr lang="en-US" dirty="0"/>
          </a:p>
        </p:txBody>
      </p:sp>
    </p:spTree>
    <p:extLst>
      <p:ext uri="{BB962C8B-B14F-4D97-AF65-F5344CB8AC3E}">
        <p14:creationId xmlns:p14="http://schemas.microsoft.com/office/powerpoint/2010/main" val="611960920"/>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Lst>
  <p:txStyles>
    <p:titleStyle>
      <a:lvl1pPr algn="ctr"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print">
              <a:extLst>
                <a:ext uri="{28A0092B-C50C-407E-A947-70E740481C1C}">
                  <a14:useLocalDpi xmlns:a14="http://schemas.microsoft.com/office/drawing/2010/main" val="0"/>
                </a:ext>
              </a:extLst>
            </a:blip>
            <a:srcRect l="2481" t="87528" b="4771"/>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1704143749"/>
      </p:ext>
    </p:extLst>
  </p:cSld>
  <p:clrMap bg1="lt1" tx1="dk1" bg2="lt2" tx2="dk2" accent1="accent1" accent2="accent2" accent3="accent3" accent4="accent4" accent5="accent5" accent6="accent6" hlink="hlink" folHlink="folHlink"/>
  <p:sldLayoutIdLst>
    <p:sldLayoutId id="2147483868" r:id="rId1"/>
    <p:sldLayoutId id="2147483869" r:id="rId2"/>
  </p:sldLayoutIdLst>
  <p:hf sldNum="0" hdr="0" dt="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888021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58938A65-A0CF-49D3-AEE6-5C84F568F891}"/>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0F568035-4C91-4DB2-A9F8-F3F688653959}"/>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3D2A75D1-356B-4790-AEDA-17C2786B11D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59A5E007-62B7-4C63-861D-A8956F51EC6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69ABD0BC-39DA-4FFF-8585-C228FCBDCA7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1610096-4D35-41A0-8880-6305FF602E5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76A151BC-3C22-4CF6-A02E-962BBD0E7A9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C026899F-354C-4214-83A6-D964AE439A0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31E3CBC-4A92-4CCA-B034-8DC1949285CB}"/>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3C683ADA-2D8E-4101-9DE2-810285D8810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EF18543-4AA3-4955-A398-0C9D38C079B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F59D6C3-535D-411A-9351-6DA0819F9B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96C75913-9539-44F1-97EA-F07037216AF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E19ECB28-F5AE-434F-81D2-8FE47EC69D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AF91275-D932-449E-8B01-97CB098A91D5}"/>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D5A8824-75EE-4AC0-84F9-27AEDD250A2B}"/>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63621BB7-07F9-4538-8524-AF0F56AA0024}"/>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76EB5A4D-3ECD-4B28-B716-B0D950761350}"/>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F24AB3F1-7165-46A5-BB3F-04387C10F2F2}"/>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AFC47490-8060-4697-841B-843E00EC81DC}"/>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D1AD175-F7AA-48B1-A768-DDBAE2011453}"/>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E363BFA-10D9-41EA-82A2-1F99BD537A2A}"/>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EAC253D-CCF8-4798-8A3F-19E9A7A75EC1}"/>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11C5C590-AD5D-4481-B492-0CC748081B6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115B971-1D36-40C9-BF9B-C703B3846E30}"/>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CF1DDB83-A68C-44EC-A06B-716BB3F4A9DE}"/>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68CDCB1A-6A19-476C-A004-B6FEC6E8D81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6CBFCFC-82C2-4BF8-A313-1646CC24B94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B65C7BFE-7866-4286-9A2D-4F19E55F4F32}"/>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442D5AE-F0ED-44B3-A05D-FC22E577861F}"/>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4A99A6C-1B64-465F-9BB6-C80092C353E0}"/>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BBEBA67A-D7C8-413D-814F-1E2FF78D276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1ED38FBF-355A-407F-9AF0-D783B5CDF22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5251E4B-FAB4-4EC8-A34B-6E1D05A2C83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9F490918-0F3E-481D-BA02-488E67AB533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5A77A77B-B2E4-44E1-8E57-B8636BC4707B}"/>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A26EFEEA-7FC8-412F-A35D-F859BD269A1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34E33E31-3990-48F4-83AC-9A97C26E2EF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7A59C431-EEAC-4828-B1B9-6F8C45D5D3B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51D12DE6-82A4-4D35-89F0-2B16855DFCF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48" name="Group 47">
            <a:extLst>
              <a:ext uri="{FF2B5EF4-FFF2-40B4-BE49-F238E27FC236}">
                <a16:creationId xmlns:a16="http://schemas.microsoft.com/office/drawing/2014/main" id="{8D94E8FB-DDC8-47CC-8FC7-EA101FE687A7}"/>
              </a:ext>
            </a:extLst>
          </p:cNvPr>
          <p:cNvGrpSpPr/>
          <p:nvPr userDrawn="1"/>
        </p:nvGrpSpPr>
        <p:grpSpPr>
          <a:xfrm>
            <a:off x="9318251" y="6528816"/>
            <a:ext cx="2033975" cy="256591"/>
            <a:chOff x="9596444" y="6528816"/>
            <a:chExt cx="2033975" cy="256591"/>
          </a:xfrm>
        </p:grpSpPr>
        <p:grpSp>
          <p:nvGrpSpPr>
            <p:cNvPr id="47" name="Group 46">
              <a:extLst>
                <a:ext uri="{FF2B5EF4-FFF2-40B4-BE49-F238E27FC236}">
                  <a16:creationId xmlns:a16="http://schemas.microsoft.com/office/drawing/2014/main" id="{A762231C-2842-4BF6-A930-A2EF831A9C73}"/>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4CF5CE64-B4E4-4BE0-AFB4-7167FE86361D}"/>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E739F47-0957-4DB6-B1AF-2327B7BB261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0A2430F6-6359-4980-BB17-DD0F837EB2C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9DBA77AF-5247-4F8A-B7CE-0368FAAA42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2F2A359-4B2E-4136-9BB4-A5B8B1CC816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565362A-F5DF-412C-9FDD-D74F55BE0CD4}"/>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3C8C76F-FA7F-4E44-AA50-DD18D1CC1A11}"/>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DA617E3-99D9-423F-8574-4C30F9DB69F7}"/>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A9359D0-3285-4608-934E-53B85D2A891A}"/>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0989D69-58ED-450A-B911-9E91EE6ADA1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15F8500-CBAC-47D4-B324-FD49091E059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7FB7712-5189-4DC7-A0DF-A65008C458EE}"/>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AE6735E-225D-4FAF-8F06-8E47561E01CF}"/>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B41FAE7-A9CD-4D5D-9B9A-946CBF94BF9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163" name="Picture 162" descr="Michigan among top 10 pro-business states, named most improved state in  CNBC rankings | Economic development, Pure michigan, Michigan">
              <a:extLst>
                <a:ext uri="{FF2B5EF4-FFF2-40B4-BE49-F238E27FC236}">
                  <a16:creationId xmlns:a16="http://schemas.microsoft.com/office/drawing/2014/main" id="{7EA70B32-D246-4E8C-AFB8-C35153A8F3E4}"/>
                </a:ext>
              </a:extLst>
            </p:cNvPr>
            <p:cNvPicPr>
              <a:picLocks noChangeAspect="1" noChangeArrowheads="1"/>
            </p:cNvPicPr>
            <p:nvPr userDrawn="1"/>
          </p:nvPicPr>
          <p:blipFill rotWithShape="1">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5" name="Picture 184" descr="Michigan among top 10 pro-business states, named most improved state in  CNBC rankings | Economic development, Pure michigan, Michigan">
              <a:extLst>
                <a:ext uri="{FF2B5EF4-FFF2-40B4-BE49-F238E27FC236}">
                  <a16:creationId xmlns:a16="http://schemas.microsoft.com/office/drawing/2014/main" id="{4C06DC77-C9A3-4A77-AF13-A298834714C1}"/>
                </a:ext>
              </a:extLst>
            </p:cNvPr>
            <p:cNvPicPr>
              <a:picLocks noChangeAspect="1" noChangeArrowheads="1"/>
            </p:cNvPicPr>
            <p:nvPr userDrawn="1"/>
          </p:nvPicPr>
          <p:blipFill rotWithShape="1">
            <a:blip r:embed="rId40"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2" name="Picture 191" descr="Michigan among top 10 pro-business states, named most improved state in  CNBC rankings | Economic development, Pure michigan, Michigan">
              <a:extLst>
                <a:ext uri="{FF2B5EF4-FFF2-40B4-BE49-F238E27FC236}">
                  <a16:creationId xmlns:a16="http://schemas.microsoft.com/office/drawing/2014/main" id="{EC8B3AB4-2EB8-4CDF-9065-EBBC7BEBD7DE}"/>
                </a:ext>
              </a:extLst>
            </p:cNvPr>
            <p:cNvPicPr>
              <a:picLocks noChangeAspect="1" noChangeArrowheads="1"/>
            </p:cNvPicPr>
            <p:nvPr userDrawn="1"/>
          </p:nvPicPr>
          <p:blipFill rotWithShape="1">
            <a:blip r:embed="rId41" cstate="screen">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1526854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80615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58938A65-A0CF-49D3-AEE6-5C84F568F891}"/>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0F568035-4C91-4DB2-A9F8-F3F688653959}"/>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3D2A75D1-356B-4790-AEDA-17C2786B11D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59A5E007-62B7-4C63-861D-A8956F51EC6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69ABD0BC-39DA-4FFF-8585-C228FCBDCA7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1610096-4D35-41A0-8880-6305FF602E5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76A151BC-3C22-4CF6-A02E-962BBD0E7A9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C026899F-354C-4214-83A6-D964AE439A0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31E3CBC-4A92-4CCA-B034-8DC1949285CB}"/>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3C683ADA-2D8E-4101-9DE2-810285D8810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EF18543-4AA3-4955-A398-0C9D38C079B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F59D6C3-535D-411A-9351-6DA0819F9B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96C75913-9539-44F1-97EA-F07037216AF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E19ECB28-F5AE-434F-81D2-8FE47EC69D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AF91275-D932-449E-8B01-97CB098A91D5}"/>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D5A8824-75EE-4AC0-84F9-27AEDD250A2B}"/>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63621BB7-07F9-4538-8524-AF0F56AA0024}"/>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76EB5A4D-3ECD-4B28-B716-B0D950761350}"/>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F24AB3F1-7165-46A5-BB3F-04387C10F2F2}"/>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AFC47490-8060-4697-841B-843E00EC81DC}"/>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D1AD175-F7AA-48B1-A768-DDBAE2011453}"/>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E363BFA-10D9-41EA-82A2-1F99BD537A2A}"/>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EAC253D-CCF8-4798-8A3F-19E9A7A75EC1}"/>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11C5C590-AD5D-4481-B492-0CC748081B6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115B971-1D36-40C9-BF9B-C703B3846E30}"/>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CF1DDB83-A68C-44EC-A06B-716BB3F4A9DE}"/>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68CDCB1A-6A19-476C-A004-B6FEC6E8D81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6CBFCFC-82C2-4BF8-A313-1646CC24B94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B65C7BFE-7866-4286-9A2D-4F19E55F4F32}"/>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442D5AE-F0ED-44B3-A05D-FC22E577861F}"/>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4A99A6C-1B64-465F-9BB6-C80092C353E0}"/>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BBEBA67A-D7C8-413D-814F-1E2FF78D276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1ED38FBF-355A-407F-9AF0-D783B5CDF22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5251E4B-FAB4-4EC8-A34B-6E1D05A2C83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9F490918-0F3E-481D-BA02-488E67AB533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5A77A77B-B2E4-44E1-8E57-B8636BC4707B}"/>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A26EFEEA-7FC8-412F-A35D-F859BD269A1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34E33E31-3990-48F4-83AC-9A97C26E2EF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7A59C431-EEAC-4828-B1B9-6F8C45D5D3B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51D12DE6-82A4-4D35-89F0-2B16855DFCF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48" name="Group 47">
            <a:extLst>
              <a:ext uri="{FF2B5EF4-FFF2-40B4-BE49-F238E27FC236}">
                <a16:creationId xmlns:a16="http://schemas.microsoft.com/office/drawing/2014/main" id="{8D94E8FB-DDC8-47CC-8FC7-EA101FE687A7}"/>
              </a:ext>
            </a:extLst>
          </p:cNvPr>
          <p:cNvGrpSpPr/>
          <p:nvPr userDrawn="1"/>
        </p:nvGrpSpPr>
        <p:grpSpPr>
          <a:xfrm>
            <a:off x="9318251" y="6528816"/>
            <a:ext cx="2033975" cy="256591"/>
            <a:chOff x="9596444" y="6528816"/>
            <a:chExt cx="2033975" cy="256591"/>
          </a:xfrm>
        </p:grpSpPr>
        <p:grpSp>
          <p:nvGrpSpPr>
            <p:cNvPr id="47" name="Group 46">
              <a:extLst>
                <a:ext uri="{FF2B5EF4-FFF2-40B4-BE49-F238E27FC236}">
                  <a16:creationId xmlns:a16="http://schemas.microsoft.com/office/drawing/2014/main" id="{A762231C-2842-4BF6-A930-A2EF831A9C73}"/>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4CF5CE64-B4E4-4BE0-AFB4-7167FE86361D}"/>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E739F47-0957-4DB6-B1AF-2327B7BB261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0A2430F6-6359-4980-BB17-DD0F837EB2C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9DBA77AF-5247-4F8A-B7CE-0368FAAA42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2F2A359-4B2E-4136-9BB4-A5B8B1CC816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565362A-F5DF-412C-9FDD-D74F55BE0CD4}"/>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3C8C76F-FA7F-4E44-AA50-DD18D1CC1A11}"/>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DA617E3-99D9-423F-8574-4C30F9DB69F7}"/>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A9359D0-3285-4608-934E-53B85D2A891A}"/>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0989D69-58ED-450A-B911-9E91EE6ADA1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15F8500-CBAC-47D4-B324-FD49091E059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7FB7712-5189-4DC7-A0DF-A65008C458EE}"/>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AE6735E-225D-4FAF-8F06-8E47561E01CF}"/>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B41FAE7-A9CD-4D5D-9B9A-946CBF94BF9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163" name="Picture 162" descr="Michigan among top 10 pro-business states, named most improved state in  CNBC rankings | Economic development, Pure michigan, Michigan">
              <a:extLst>
                <a:ext uri="{FF2B5EF4-FFF2-40B4-BE49-F238E27FC236}">
                  <a16:creationId xmlns:a16="http://schemas.microsoft.com/office/drawing/2014/main" id="{7EA70B32-D246-4E8C-AFB8-C35153A8F3E4}"/>
                </a:ext>
              </a:extLst>
            </p:cNvPr>
            <p:cNvPicPr>
              <a:picLocks noChangeAspect="1" noChangeArrowheads="1"/>
            </p:cNvPicPr>
            <p:nvPr userDrawn="1"/>
          </p:nvPicPr>
          <p:blipFill rotWithShape="1">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5" name="Picture 184" descr="Michigan among top 10 pro-business states, named most improved state in  CNBC rankings | Economic development, Pure michigan, Michigan">
              <a:extLst>
                <a:ext uri="{FF2B5EF4-FFF2-40B4-BE49-F238E27FC236}">
                  <a16:creationId xmlns:a16="http://schemas.microsoft.com/office/drawing/2014/main" id="{4C06DC77-C9A3-4A77-AF13-A298834714C1}"/>
                </a:ext>
              </a:extLst>
            </p:cNvPr>
            <p:cNvPicPr>
              <a:picLocks noChangeAspect="1" noChangeArrowheads="1"/>
            </p:cNvPicPr>
            <p:nvPr userDrawn="1"/>
          </p:nvPicPr>
          <p:blipFill rotWithShape="1">
            <a:blip r:embed="rId40"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2" name="Picture 191" descr="Michigan among top 10 pro-business states, named most improved state in  CNBC rankings | Economic development, Pure michigan, Michigan">
              <a:extLst>
                <a:ext uri="{FF2B5EF4-FFF2-40B4-BE49-F238E27FC236}">
                  <a16:creationId xmlns:a16="http://schemas.microsoft.com/office/drawing/2014/main" id="{EC8B3AB4-2EB8-4CDF-9065-EBBC7BEBD7DE}"/>
                </a:ext>
              </a:extLst>
            </p:cNvPr>
            <p:cNvPicPr>
              <a:picLocks noChangeAspect="1" noChangeArrowheads="1"/>
            </p:cNvPicPr>
            <p:nvPr userDrawn="1"/>
          </p:nvPicPr>
          <p:blipFill rotWithShape="1">
            <a:blip r:embed="rId41" cstate="screen">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1515909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80121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58938A65-A0CF-49D3-AEE6-5C84F568F891}"/>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0F568035-4C91-4DB2-A9F8-F3F688653959}"/>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3D2A75D1-356B-4790-AEDA-17C2786B11D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59A5E007-62B7-4C63-861D-A8956F51EC6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69ABD0BC-39DA-4FFF-8585-C228FCBDCA7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1610096-4D35-41A0-8880-6305FF602E5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76A151BC-3C22-4CF6-A02E-962BBD0E7A9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C026899F-354C-4214-83A6-D964AE439A0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31E3CBC-4A92-4CCA-B034-8DC1949285CB}"/>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3C683ADA-2D8E-4101-9DE2-810285D8810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EF18543-4AA3-4955-A398-0C9D38C079B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F59D6C3-535D-411A-9351-6DA0819F9B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96C75913-9539-44F1-97EA-F07037216AF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E19ECB28-F5AE-434F-81D2-8FE47EC69D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AF91275-D932-449E-8B01-97CB098A91D5}"/>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D5A8824-75EE-4AC0-84F9-27AEDD250A2B}"/>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63621BB7-07F9-4538-8524-AF0F56AA002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76EB5A4D-3ECD-4B28-B716-B0D950761350}"/>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F24AB3F1-7165-46A5-BB3F-04387C10F2F2}"/>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AFC47490-8060-4697-841B-843E00EC81DC}"/>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D1AD175-F7AA-48B1-A768-DDBAE201145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E363BFA-10D9-41EA-82A2-1F99BD537A2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EAC253D-CCF8-4798-8A3F-19E9A7A75EC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11C5C590-AD5D-4481-B492-0CC748081B6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115B971-1D36-40C9-BF9B-C703B3846E3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CF1DDB83-A68C-44EC-A06B-716BB3F4A9DE}"/>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68CDCB1A-6A19-476C-A004-B6FEC6E8D81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6CBFCFC-82C2-4BF8-A313-1646CC24B94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B65C7BFE-7866-4286-9A2D-4F19E55F4F32}"/>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442D5AE-F0ED-44B3-A05D-FC22E577861F}"/>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4A99A6C-1B64-465F-9BB6-C80092C353E0}"/>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BBEBA67A-D7C8-413D-814F-1E2FF78D276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1ED38FBF-355A-407F-9AF0-D783B5CDF22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5251E4B-FAB4-4EC8-A34B-6E1D05A2C83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9F490918-0F3E-481D-BA02-488E67AB533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5A77A77B-B2E4-44E1-8E57-B8636BC4707B}"/>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A26EFEEA-7FC8-412F-A35D-F859BD269A1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34E33E31-3990-48F4-83AC-9A97C26E2EF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7A59C431-EEAC-4828-B1B9-6F8C45D5D3B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51D12DE6-82A4-4D35-89F0-2B16855DFCF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48" name="Group 47">
            <a:extLst>
              <a:ext uri="{FF2B5EF4-FFF2-40B4-BE49-F238E27FC236}">
                <a16:creationId xmlns:a16="http://schemas.microsoft.com/office/drawing/2014/main" id="{8D94E8FB-DDC8-47CC-8FC7-EA101FE687A7}"/>
              </a:ext>
            </a:extLst>
          </p:cNvPr>
          <p:cNvGrpSpPr/>
          <p:nvPr userDrawn="1"/>
        </p:nvGrpSpPr>
        <p:grpSpPr>
          <a:xfrm>
            <a:off x="9318251" y="6528816"/>
            <a:ext cx="2033975" cy="256591"/>
            <a:chOff x="9596444" y="6528816"/>
            <a:chExt cx="2033975" cy="256591"/>
          </a:xfrm>
        </p:grpSpPr>
        <p:grpSp>
          <p:nvGrpSpPr>
            <p:cNvPr id="47" name="Group 46">
              <a:extLst>
                <a:ext uri="{FF2B5EF4-FFF2-40B4-BE49-F238E27FC236}">
                  <a16:creationId xmlns:a16="http://schemas.microsoft.com/office/drawing/2014/main" id="{A762231C-2842-4BF6-A930-A2EF831A9C73}"/>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4CF5CE64-B4E4-4BE0-AFB4-7167FE86361D}"/>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E739F47-0957-4DB6-B1AF-2327B7BB261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0A2430F6-6359-4980-BB17-DD0F837EB2C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9DBA77AF-5247-4F8A-B7CE-0368FAAA42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2F2A359-4B2E-4136-9BB4-A5B8B1CC816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565362A-F5DF-412C-9FDD-D74F55BE0CD4}"/>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3C8C76F-FA7F-4E44-AA50-DD18D1CC1A11}"/>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DA617E3-99D9-423F-8574-4C30F9DB69F7}"/>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A9359D0-3285-4608-934E-53B85D2A891A}"/>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0989D69-58ED-450A-B911-9E91EE6ADA1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15F8500-CBAC-47D4-B324-FD49091E059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7FB7712-5189-4DC7-A0DF-A65008C458EE}"/>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AE6735E-225D-4FAF-8F06-8E47561E01CF}"/>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B41FAE7-A9CD-4D5D-9B9A-946CBF94BF9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163" name="Picture 162" descr="Michigan among top 10 pro-business states, named most improved state in  CNBC rankings | Economic development, Pure michigan, Michigan">
              <a:extLst>
                <a:ext uri="{FF2B5EF4-FFF2-40B4-BE49-F238E27FC236}">
                  <a16:creationId xmlns:a16="http://schemas.microsoft.com/office/drawing/2014/main" id="{7EA70B32-D246-4E8C-AFB8-C35153A8F3E4}"/>
                </a:ext>
              </a:extLst>
            </p:cNvPr>
            <p:cNvPicPr>
              <a:picLocks noChangeAspect="1" noChangeArrowheads="1"/>
            </p:cNvPicPr>
            <p:nvPr userDrawn="1"/>
          </p:nvPicPr>
          <p:blipFill rotWithShape="1">
            <a:blip r:embed="rId45">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5" name="Picture 184" descr="Michigan among top 10 pro-business states, named most improved state in  CNBC rankings | Economic development, Pure michigan, Michigan">
              <a:extLst>
                <a:ext uri="{FF2B5EF4-FFF2-40B4-BE49-F238E27FC236}">
                  <a16:creationId xmlns:a16="http://schemas.microsoft.com/office/drawing/2014/main" id="{4C06DC77-C9A3-4A77-AF13-A298834714C1}"/>
                </a:ext>
              </a:extLst>
            </p:cNvPr>
            <p:cNvPicPr>
              <a:picLocks noChangeAspect="1" noChangeArrowheads="1"/>
            </p:cNvPicPr>
            <p:nvPr userDrawn="1"/>
          </p:nvPicPr>
          <p:blipFill rotWithShape="1">
            <a:blip r:embed="rId47">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2" name="Picture 191" descr="Michigan among top 10 pro-business states, named most improved state in  CNBC rankings | Economic development, Pure michigan, Michigan">
              <a:extLst>
                <a:ext uri="{FF2B5EF4-FFF2-40B4-BE49-F238E27FC236}">
                  <a16:creationId xmlns:a16="http://schemas.microsoft.com/office/drawing/2014/main" id="{EC8B3AB4-2EB8-4CDF-9065-EBBC7BEBD7DE}"/>
                </a:ext>
              </a:extLst>
            </p:cNvPr>
            <p:cNvPicPr>
              <a:picLocks noChangeAspect="1" noChangeArrowheads="1"/>
            </p:cNvPicPr>
            <p:nvPr userDrawn="1"/>
          </p:nvPicPr>
          <p:blipFill rotWithShape="1">
            <a:blip r:embed="rId48">
              <a:extLst>
                <a:ext uri="{BEBA8EAE-BF5A-486C-A8C5-ECC9F3942E4B}">
                  <a14:imgProps xmlns:a14="http://schemas.microsoft.com/office/drawing/2010/main">
                    <a14:imgLayer r:embed="rId49">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4614409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115227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75" name="Rectangle 174">
            <a:extLst>
              <a:ext uri="{FF2B5EF4-FFF2-40B4-BE49-F238E27FC236}">
                <a16:creationId xmlns:a16="http://schemas.microsoft.com/office/drawing/2014/main" id="{47C9FAA5-1BB8-433E-94E8-B7B5275628EF}"/>
              </a:ext>
            </a:extLst>
          </p:cNvPr>
          <p:cNvSpPr>
            <a:spLocks/>
          </p:cNvSpPr>
          <p:nvPr userDrawn="1"/>
        </p:nvSpPr>
        <p:spPr bwMode="ltGray">
          <a:xfrm>
            <a:off x="0" y="6486348"/>
            <a:ext cx="12192000" cy="371652"/>
          </a:xfrm>
          <a:prstGeom prst="rect">
            <a:avLst/>
          </a:prstGeom>
          <a:solidFill>
            <a:srgbClr val="0013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6"/>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1BBE80A2-7F66-48DF-B6F5-6360EC2E7637}"/>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044ABD32-EAB9-4E36-9291-142DD6AD5BE3}"/>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0AE8724B-B89D-4854-9744-22ABBD9ED5D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A67BDB74-E0E9-49EC-B9C6-9B77F9350E33}"/>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11FAFA50-C88F-46BA-B036-B0D23560C1F1}"/>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932733CA-1573-49C7-BDC1-DB81E437D78D}"/>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E3623345-3634-479E-9767-3EE42783D8B8}"/>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61683E26-7549-41BB-9999-339A1953A275}"/>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DCE9CEB0-DB4A-415B-A916-166284F1B9EC}"/>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D9F7666C-A93A-45CB-921A-4091C7C0E7EF}"/>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F2F4AA32-4239-4845-96AB-CAEBB44B71FB}"/>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402812EC-7CA9-4F35-8804-B969F896093B}"/>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DF4C4237-2022-4F82-86AA-CCA31E1170A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DF680450-19E7-4E1C-B59B-E9B98088FD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A000B249-439C-483C-8B0B-7FB0602AE563}"/>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EFCFB76A-CA70-4A5A-8DD1-82A7B379B82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94358276-2234-4EF5-B38D-B000EEEDF77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2B5BD7D7-21B1-42DE-9ABF-802AFF88032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FFF10BFA-28A7-483D-861E-5ECA12ACD41A}"/>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314723FB-F37D-44F7-8091-25B64A22B91B}"/>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73A4A069-E691-4405-AAFF-2A43671FC97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2FD29AE7-0460-4F1C-A39D-C134EA97547D}"/>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1C79604E-8426-4AE6-9374-05566B7BBA30}"/>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1E3EA997-4ACB-4D4A-905D-94AB0D81CF4A}"/>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9052119A-432F-4811-8BBB-EE15AEF0A7EC}"/>
                </a:ext>
              </a:extLst>
            </p:cNvPr>
            <p:cNvGrpSpPr>
              <a:grpSpLocks noChangeAspect="1"/>
            </p:cNvGrpSpPr>
            <p:nvPr>
              <p:custDataLst>
                <p:tags r:id="rId27"/>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43C42D51-3894-41E3-B990-28D713C8413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766D4BE9-94F8-4E8A-BBF1-BB616726005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9B86A1AF-9865-49CE-8687-2D7E0F1E1FBE}"/>
                </a:ext>
              </a:extLst>
            </p:cNvPr>
            <p:cNvGrpSpPr>
              <a:grpSpLocks noChangeAspect="1"/>
            </p:cNvGrpSpPr>
            <p:nvPr>
              <p:custDataLst>
                <p:tags r:id="rId28"/>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B89B4BA3-A749-4361-BB50-4A5DDAD75D2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1EEB4F2F-A42B-46D1-81B8-77EEAB6A5DA3}"/>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C590F868-27B3-45F5-A555-2B00BD40FA15}"/>
                </a:ext>
              </a:extLst>
            </p:cNvPr>
            <p:cNvGrpSpPr>
              <a:grpSpLocks noChangeAspect="1"/>
            </p:cNvGrpSpPr>
            <p:nvPr>
              <p:custDataLst>
                <p:tags r:id="rId29"/>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E143B7FA-902A-4D9B-8319-170D772F49E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D94A680F-A92C-4B66-8C42-5318D9E7663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D8F5C9C3-CC19-4F1A-86EF-ED817A8BE148}"/>
                </a:ext>
              </a:extLst>
            </p:cNvPr>
            <p:cNvGrpSpPr>
              <a:grpSpLocks noChangeAspect="1"/>
            </p:cNvGrpSpPr>
            <p:nvPr>
              <p:custDataLst>
                <p:tags r:id="rId30"/>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24647CD1-79C4-4D08-9CDC-1EF566573C4B}"/>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60BCE111-23A7-4464-9500-2729F970090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F2E06C4D-6EB4-44C9-8457-15899943901A}"/>
                </a:ext>
              </a:extLst>
            </p:cNvPr>
            <p:cNvGrpSpPr>
              <a:grpSpLocks noChangeAspect="1"/>
            </p:cNvGrpSpPr>
            <p:nvPr>
              <p:custDataLst>
                <p:tags r:id="rId31"/>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A10D3BF5-26A4-4B19-B187-B27FDBED208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B08AA137-4789-47E8-B4AC-7F7AF23EE2C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96" name="Group 195">
            <a:extLst>
              <a:ext uri="{FF2B5EF4-FFF2-40B4-BE49-F238E27FC236}">
                <a16:creationId xmlns:a16="http://schemas.microsoft.com/office/drawing/2014/main" id="{7B5A2E9A-65C0-498F-8DB5-A72AF498BFB1}"/>
              </a:ext>
            </a:extLst>
          </p:cNvPr>
          <p:cNvGrpSpPr/>
          <p:nvPr userDrawn="1"/>
        </p:nvGrpSpPr>
        <p:grpSpPr>
          <a:xfrm>
            <a:off x="9318251" y="6528816"/>
            <a:ext cx="2033975" cy="256591"/>
            <a:chOff x="9596444" y="6528816"/>
            <a:chExt cx="2033975" cy="256591"/>
          </a:xfrm>
        </p:grpSpPr>
        <p:grpSp>
          <p:nvGrpSpPr>
            <p:cNvPr id="197" name="Group 196">
              <a:extLst>
                <a:ext uri="{FF2B5EF4-FFF2-40B4-BE49-F238E27FC236}">
                  <a16:creationId xmlns:a16="http://schemas.microsoft.com/office/drawing/2014/main" id="{5D0FB789-11C8-44D1-BED9-81FF4CAAF4E4}"/>
                </a:ext>
              </a:extLst>
            </p:cNvPr>
            <p:cNvGrpSpPr/>
            <p:nvPr userDrawn="1"/>
          </p:nvGrpSpPr>
          <p:grpSpPr>
            <a:xfrm>
              <a:off x="10651738" y="6560134"/>
              <a:ext cx="978681" cy="225273"/>
              <a:chOff x="10651738" y="6560134"/>
              <a:chExt cx="978681" cy="225273"/>
            </a:xfrm>
          </p:grpSpPr>
          <p:sp>
            <p:nvSpPr>
              <p:cNvPr id="201" name="Freeform: Shape 200">
                <a:extLst>
                  <a:ext uri="{FF2B5EF4-FFF2-40B4-BE49-F238E27FC236}">
                    <a16:creationId xmlns:a16="http://schemas.microsoft.com/office/drawing/2014/main" id="{F7E778D8-C443-4486-BE91-B39C12F87066}"/>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2" name="Freeform: Shape 201">
                <a:extLst>
                  <a:ext uri="{FF2B5EF4-FFF2-40B4-BE49-F238E27FC236}">
                    <a16:creationId xmlns:a16="http://schemas.microsoft.com/office/drawing/2014/main" id="{1F3FE58B-85A3-4CC8-B4D1-C2FE1A2EC1F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3" name="Freeform: Shape 202">
                <a:extLst>
                  <a:ext uri="{FF2B5EF4-FFF2-40B4-BE49-F238E27FC236}">
                    <a16:creationId xmlns:a16="http://schemas.microsoft.com/office/drawing/2014/main" id="{A909D9C1-56F8-4C0D-9930-557385D5501D}"/>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4" name="Freeform: Shape 203">
                <a:extLst>
                  <a:ext uri="{FF2B5EF4-FFF2-40B4-BE49-F238E27FC236}">
                    <a16:creationId xmlns:a16="http://schemas.microsoft.com/office/drawing/2014/main" id="{77E51928-85A9-4EC1-A29C-FC734619D5CB}"/>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5" name="Freeform: Shape 204">
                <a:extLst>
                  <a:ext uri="{FF2B5EF4-FFF2-40B4-BE49-F238E27FC236}">
                    <a16:creationId xmlns:a16="http://schemas.microsoft.com/office/drawing/2014/main" id="{358D6A23-887A-403D-A7FE-678B03D9C59F}"/>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6" name="Freeform: Shape 205">
                <a:extLst>
                  <a:ext uri="{FF2B5EF4-FFF2-40B4-BE49-F238E27FC236}">
                    <a16:creationId xmlns:a16="http://schemas.microsoft.com/office/drawing/2014/main" id="{EE095A74-A3EA-491D-82DA-99859EE29372}"/>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5" name="Freeform: Shape 224">
                <a:extLst>
                  <a:ext uri="{FF2B5EF4-FFF2-40B4-BE49-F238E27FC236}">
                    <a16:creationId xmlns:a16="http://schemas.microsoft.com/office/drawing/2014/main" id="{361E7FFB-F396-47CE-BF6A-B1F4D7549498}"/>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6" name="Freeform: Shape 225">
                <a:extLst>
                  <a:ext uri="{FF2B5EF4-FFF2-40B4-BE49-F238E27FC236}">
                    <a16:creationId xmlns:a16="http://schemas.microsoft.com/office/drawing/2014/main" id="{412C8204-BF5D-4AB3-852D-B3BB86398152}"/>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7" name="Freeform: Shape 226">
                <a:extLst>
                  <a:ext uri="{FF2B5EF4-FFF2-40B4-BE49-F238E27FC236}">
                    <a16:creationId xmlns:a16="http://schemas.microsoft.com/office/drawing/2014/main" id="{2F14D86E-18D4-4987-BB0F-E5AF7720D089}"/>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8" name="Freeform: Shape 227">
                <a:extLst>
                  <a:ext uri="{FF2B5EF4-FFF2-40B4-BE49-F238E27FC236}">
                    <a16:creationId xmlns:a16="http://schemas.microsoft.com/office/drawing/2014/main" id="{143D5924-B2B9-4EF7-83B2-57F8C0DB6B2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9" name="Freeform: Shape 228">
                <a:extLst>
                  <a:ext uri="{FF2B5EF4-FFF2-40B4-BE49-F238E27FC236}">
                    <a16:creationId xmlns:a16="http://schemas.microsoft.com/office/drawing/2014/main" id="{B5267E32-9A16-43FD-9F37-6FE143387C44}"/>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30" name="Freeform: Shape 229">
                <a:extLst>
                  <a:ext uri="{FF2B5EF4-FFF2-40B4-BE49-F238E27FC236}">
                    <a16:creationId xmlns:a16="http://schemas.microsoft.com/office/drawing/2014/main" id="{C028ACF0-7BD9-4A0A-9988-D1F0989A3DA8}"/>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31" name="Freeform: Shape 230">
                <a:extLst>
                  <a:ext uri="{FF2B5EF4-FFF2-40B4-BE49-F238E27FC236}">
                    <a16:creationId xmlns:a16="http://schemas.microsoft.com/office/drawing/2014/main" id="{13953F4F-B6E0-4539-B1A9-5AF34C79EFF1}"/>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32" name="Freeform: Shape 231">
                <a:extLst>
                  <a:ext uri="{FF2B5EF4-FFF2-40B4-BE49-F238E27FC236}">
                    <a16:creationId xmlns:a16="http://schemas.microsoft.com/office/drawing/2014/main" id="{2BC5433F-7E29-4F09-AE38-8A0442C240B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pic>
          <p:nvPicPr>
            <p:cNvPr id="198" name="Picture 197" descr="Michigan among top 10 pro-business states, named most improved state in  CNBC rankings | Economic development, Pure michigan, Michigan">
              <a:extLst>
                <a:ext uri="{FF2B5EF4-FFF2-40B4-BE49-F238E27FC236}">
                  <a16:creationId xmlns:a16="http://schemas.microsoft.com/office/drawing/2014/main" id="{C37AEF7E-F106-4C30-AD27-5E432C928472}"/>
                </a:ext>
              </a:extLst>
            </p:cNvPr>
            <p:cNvPicPr>
              <a:picLocks noChangeAspect="1" noChangeArrowheads="1"/>
            </p:cNvPicPr>
            <p:nvPr userDrawn="1"/>
          </p:nvPicPr>
          <p:blipFill rotWithShape="1">
            <a:blip r:embed="rId44">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9" name="Picture 198" descr="Michigan among top 10 pro-business states, named most improved state in  CNBC rankings | Economic development, Pure michigan, Michigan">
              <a:extLst>
                <a:ext uri="{FF2B5EF4-FFF2-40B4-BE49-F238E27FC236}">
                  <a16:creationId xmlns:a16="http://schemas.microsoft.com/office/drawing/2014/main" id="{5329B42A-316A-4D51-8D8D-FCCF0EDC771A}"/>
                </a:ext>
              </a:extLst>
            </p:cNvPr>
            <p:cNvPicPr>
              <a:picLocks noChangeAspect="1" noChangeArrowheads="1"/>
            </p:cNvPicPr>
            <p:nvPr userDrawn="1"/>
          </p:nvPicPr>
          <p:blipFill rotWithShape="1">
            <a:blip r:embed="rId46">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00" name="Picture 199" descr="Michigan among top 10 pro-business states, named most improved state in  CNBC rankings | Economic development, Pure michigan, Michigan">
              <a:extLst>
                <a:ext uri="{FF2B5EF4-FFF2-40B4-BE49-F238E27FC236}">
                  <a16:creationId xmlns:a16="http://schemas.microsoft.com/office/drawing/2014/main" id="{E943362F-2261-4CF8-B13F-656F9BFF7D28}"/>
                </a:ext>
              </a:extLst>
            </p:cNvPr>
            <p:cNvPicPr>
              <a:picLocks noChangeAspect="1" noChangeArrowheads="1"/>
            </p:cNvPicPr>
            <p:nvPr userDrawn="1"/>
          </p:nvPicPr>
          <p:blipFill rotWithShape="1">
            <a:blip r:embed="rId47">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7961871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20404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58938A65-A0CF-49D3-AEE6-5C84F568F891}"/>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0F568035-4C91-4DB2-A9F8-F3F688653959}"/>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3D2A75D1-356B-4790-AEDA-17C2786B11D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59A5E007-62B7-4C63-861D-A8956F51EC6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69ABD0BC-39DA-4FFF-8585-C228FCBDCA7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1610096-4D35-41A0-8880-6305FF602E5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76A151BC-3C22-4CF6-A02E-962BBD0E7A9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C026899F-354C-4214-83A6-D964AE439A0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31E3CBC-4A92-4CCA-B034-8DC1949285CB}"/>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3C683ADA-2D8E-4101-9DE2-810285D8810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EF18543-4AA3-4955-A398-0C9D38C079B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F59D6C3-535D-411A-9351-6DA0819F9B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96C75913-9539-44F1-97EA-F07037216AF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E19ECB28-F5AE-434F-81D2-8FE47EC69D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AF91275-D932-449E-8B01-97CB098A91D5}"/>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D5A8824-75EE-4AC0-84F9-27AEDD250A2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63621BB7-07F9-4538-8524-AF0F56AA002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76EB5A4D-3ECD-4B28-B716-B0D950761350}"/>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F24AB3F1-7165-46A5-BB3F-04387C10F2F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AFC47490-8060-4697-841B-843E00EC81DC}"/>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D1AD175-F7AA-48B1-A768-DDBAE2011453}"/>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E363BFA-10D9-41EA-82A2-1F99BD537A2A}"/>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EAC253D-CCF8-4798-8A3F-19E9A7A75EC1}"/>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11C5C590-AD5D-4481-B492-0CC748081B6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115B971-1D36-40C9-BF9B-C703B3846E3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CF1DDB83-A68C-44EC-A06B-716BB3F4A9DE}"/>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68CDCB1A-6A19-476C-A004-B6FEC6E8D81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6CBFCFC-82C2-4BF8-A313-1646CC24B94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B65C7BFE-7866-4286-9A2D-4F19E55F4F3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442D5AE-F0ED-44B3-A05D-FC22E577861F}"/>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4A99A6C-1B64-465F-9BB6-C80092C353E0}"/>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BBEBA67A-D7C8-413D-814F-1E2FF78D276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1ED38FBF-355A-407F-9AF0-D783B5CDF22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5251E4B-FAB4-4EC8-A34B-6E1D05A2C83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9F490918-0F3E-481D-BA02-488E67AB533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5A77A77B-B2E4-44E1-8E57-B8636BC4707B}"/>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A26EFEEA-7FC8-412F-A35D-F859BD269A1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34E33E31-3990-48F4-83AC-9A97C26E2EF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7A59C431-EEAC-4828-B1B9-6F8C45D5D3B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51D12DE6-82A4-4D35-89F0-2B16855DFCF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48" name="Group 47">
            <a:extLst>
              <a:ext uri="{FF2B5EF4-FFF2-40B4-BE49-F238E27FC236}">
                <a16:creationId xmlns:a16="http://schemas.microsoft.com/office/drawing/2014/main" id="{8D94E8FB-DDC8-47CC-8FC7-EA101FE687A7}"/>
              </a:ext>
            </a:extLst>
          </p:cNvPr>
          <p:cNvGrpSpPr/>
          <p:nvPr userDrawn="1"/>
        </p:nvGrpSpPr>
        <p:grpSpPr>
          <a:xfrm>
            <a:off x="9318251" y="6528816"/>
            <a:ext cx="2033975" cy="256591"/>
            <a:chOff x="9596444" y="6528816"/>
            <a:chExt cx="2033975" cy="256591"/>
          </a:xfrm>
        </p:grpSpPr>
        <p:grpSp>
          <p:nvGrpSpPr>
            <p:cNvPr id="47" name="Group 46">
              <a:extLst>
                <a:ext uri="{FF2B5EF4-FFF2-40B4-BE49-F238E27FC236}">
                  <a16:creationId xmlns:a16="http://schemas.microsoft.com/office/drawing/2014/main" id="{A762231C-2842-4BF6-A930-A2EF831A9C73}"/>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4CF5CE64-B4E4-4BE0-AFB4-7167FE86361D}"/>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E739F47-0957-4DB6-B1AF-2327B7BB261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0A2430F6-6359-4980-BB17-DD0F837EB2C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9DBA77AF-5247-4F8A-B7CE-0368FAAA42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2F2A359-4B2E-4136-9BB4-A5B8B1CC816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565362A-F5DF-412C-9FDD-D74F55BE0CD4}"/>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3C8C76F-FA7F-4E44-AA50-DD18D1CC1A11}"/>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DA617E3-99D9-423F-8574-4C30F9DB69F7}"/>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A9359D0-3285-4608-934E-53B85D2A891A}"/>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0989D69-58ED-450A-B911-9E91EE6ADA1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15F8500-CBAC-47D4-B324-FD49091E059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7FB7712-5189-4DC7-A0DF-A65008C458EE}"/>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AE6735E-225D-4FAF-8F06-8E47561E01CF}"/>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B41FAE7-A9CD-4D5D-9B9A-946CBF94BF9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163" name="Picture 162" descr="Michigan among top 10 pro-business states, named most improved state in  CNBC rankings | Economic development, Pure michigan, Michigan">
              <a:extLst>
                <a:ext uri="{FF2B5EF4-FFF2-40B4-BE49-F238E27FC236}">
                  <a16:creationId xmlns:a16="http://schemas.microsoft.com/office/drawing/2014/main" id="{7EA70B32-D246-4E8C-AFB8-C35153A8F3E4}"/>
                </a:ext>
              </a:extLst>
            </p:cNvPr>
            <p:cNvPicPr>
              <a:picLocks noChangeAspect="1" noChangeArrowheads="1"/>
            </p:cNvPicPr>
            <p:nvPr userDrawn="1"/>
          </p:nvPicPr>
          <p:blipFill rotWithShape="1">
            <a:blip r:embed="rId39" cstate="screen">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5" name="Picture 184" descr="Michigan among top 10 pro-business states, named most improved state in  CNBC rankings | Economic development, Pure michigan, Michigan">
              <a:extLst>
                <a:ext uri="{FF2B5EF4-FFF2-40B4-BE49-F238E27FC236}">
                  <a16:creationId xmlns:a16="http://schemas.microsoft.com/office/drawing/2014/main" id="{4C06DC77-C9A3-4A77-AF13-A298834714C1}"/>
                </a:ext>
              </a:extLst>
            </p:cNvPr>
            <p:cNvPicPr>
              <a:picLocks noChangeAspect="1" noChangeArrowheads="1"/>
            </p:cNvPicPr>
            <p:nvPr userDrawn="1"/>
          </p:nvPicPr>
          <p:blipFill rotWithShape="1">
            <a:blip r:embed="rId41" cstate="screen">
              <a:extLst>
                <a:ext uri="{28A0092B-C50C-407E-A947-70E740481C1C}">
                  <a14:useLocalDpi xmlns:a14="http://schemas.microsoft.com/office/drawing/2010/main"/>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2" name="Picture 191" descr="Michigan among top 10 pro-business states, named most improved state in  CNBC rankings | Economic development, Pure michigan, Michigan">
              <a:extLst>
                <a:ext uri="{FF2B5EF4-FFF2-40B4-BE49-F238E27FC236}">
                  <a16:creationId xmlns:a16="http://schemas.microsoft.com/office/drawing/2014/main" id="{EC8B3AB4-2EB8-4CDF-9065-EBBC7BEBD7DE}"/>
                </a:ext>
              </a:extLst>
            </p:cNvPr>
            <p:cNvPicPr>
              <a:picLocks noChangeAspect="1" noChangeArrowheads="1"/>
            </p:cNvPicPr>
            <p:nvPr userDrawn="1"/>
          </p:nvPicPr>
          <p:blipFill rotWithShape="1">
            <a:blip r:embed="rId42" cstate="screen">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5999102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1650574595"/>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screen">
              <a:extLst>
                <a:ext uri="{28A0092B-C50C-407E-A947-70E740481C1C}">
                  <a14:useLocalDpi xmlns:a14="http://schemas.microsoft.com/office/drawing/2010/main"/>
                </a:ext>
              </a:extLst>
            </a:blip>
            <a:srcRect/>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3259536890"/>
      </p:ext>
    </p:extLst>
  </p:cSld>
  <p:clrMap bg1="lt1" tx1="dk1" bg2="lt2" tx2="dk2" accent1="accent1" accent2="accent2" accent3="accent3" accent4="accent4" accent5="accent5" accent6="accent6" hlink="hlink" folHlink="folHlink"/>
  <p:sldLayoutIdLst>
    <p:sldLayoutId id="2147483772" r:id="rId1"/>
    <p:sldLayoutId id="2147483773" r:id="rId2"/>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546758743"/>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screen">
              <a:extLst>
                <a:ext uri="{28A0092B-C50C-407E-A947-70E740481C1C}">
                  <a14:useLocalDpi xmlns:a14="http://schemas.microsoft.com/office/drawing/2010/main"/>
                </a:ext>
              </a:extLst>
            </a:blip>
            <a:srcRect/>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3193820488"/>
      </p:ext>
    </p:extLst>
  </p:cSld>
  <p:clrMap bg1="lt1" tx1="dk1" bg2="lt2" tx2="dk2" accent1="accent1" accent2="accent2" accent3="accent3" accent4="accent4" accent5="accent5" accent6="accent6" hlink="hlink" folHlink="folHlink"/>
  <p:sldLayoutIdLst>
    <p:sldLayoutId id="2147483775" r:id="rId1"/>
    <p:sldLayoutId id="2147483776" r:id="rId2"/>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888021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58938A65-A0CF-49D3-AEE6-5C84F568F891}"/>
              </a:ext>
            </a:extLst>
          </p:cNvPr>
          <p:cNvSpPr>
            <a:spLocks/>
          </p:cNvSpPr>
          <p:nvPr userDrawn="1"/>
        </p:nvSpPr>
        <p:spPr bwMode="ltGray">
          <a:xfrm>
            <a:off x="0" y="6486348"/>
            <a:ext cx="12192000" cy="371652"/>
          </a:xfrm>
          <a:prstGeom prst="rect">
            <a:avLst/>
          </a:prstGeom>
          <a:solidFill>
            <a:srgbClr val="001D5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0F568035-4C91-4DB2-A9F8-F3F688653959}"/>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3D2A75D1-356B-4790-AEDA-17C2786B11D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59A5E007-62B7-4C63-861D-A8956F51EC6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69ABD0BC-39DA-4FFF-8585-C228FCBDCA7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1610096-4D35-41A0-8880-6305FF602E5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76A151BC-3C22-4CF6-A02E-962BBD0E7A9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C026899F-354C-4214-83A6-D964AE439A0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31E3CBC-4A92-4CCA-B034-8DC1949285CB}"/>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3C683ADA-2D8E-4101-9DE2-810285D88109}"/>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3EF18543-4AA3-4955-A398-0C9D38C079B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F59D6C3-535D-411A-9351-6DA0819F9BA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96C75913-9539-44F1-97EA-F07037216AF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E19ECB28-F5AE-434F-81D2-8FE47EC69D1E}"/>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AF91275-D932-449E-8B01-97CB098A91D5}"/>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D5A8824-75EE-4AC0-84F9-27AEDD250A2B}"/>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63621BB7-07F9-4538-8524-AF0F56AA0024}"/>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76EB5A4D-3ECD-4B28-B716-B0D950761350}"/>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F24AB3F1-7165-46A5-BB3F-04387C10F2F2}"/>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AFC47490-8060-4697-841B-843E00EC81DC}"/>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D1AD175-F7AA-48B1-A768-DDBAE2011453}"/>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E363BFA-10D9-41EA-82A2-1F99BD537A2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4EAC253D-CCF8-4798-8A3F-19E9A7A75EC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11C5C590-AD5D-4481-B492-0CC748081B60}"/>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115B971-1D36-40C9-BF9B-C703B3846E3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CF1DDB83-A68C-44EC-A06B-716BB3F4A9DE}"/>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68CDCB1A-6A19-476C-A004-B6FEC6E8D811}"/>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6CBFCFC-82C2-4BF8-A313-1646CC24B94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B65C7BFE-7866-4286-9A2D-4F19E55F4F32}"/>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442D5AE-F0ED-44B3-A05D-FC22E577861F}"/>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4A99A6C-1B64-465F-9BB6-C80092C353E0}"/>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BBEBA67A-D7C8-413D-814F-1E2FF78D276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1ED38FBF-355A-407F-9AF0-D783B5CDF22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5251E4B-FAB4-4EC8-A34B-6E1D05A2C83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9F490918-0F3E-481D-BA02-488E67AB533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5A77A77B-B2E4-44E1-8E57-B8636BC4707B}"/>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A26EFEEA-7FC8-412F-A35D-F859BD269A1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34E33E31-3990-48F4-83AC-9A97C26E2EFB}"/>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7A59C431-EEAC-4828-B1B9-6F8C45D5D3B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51D12DE6-82A4-4D35-89F0-2B16855DFCF2}"/>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48" name="Group 47">
            <a:extLst>
              <a:ext uri="{FF2B5EF4-FFF2-40B4-BE49-F238E27FC236}">
                <a16:creationId xmlns:a16="http://schemas.microsoft.com/office/drawing/2014/main" id="{8D94E8FB-DDC8-47CC-8FC7-EA101FE687A7}"/>
              </a:ext>
            </a:extLst>
          </p:cNvPr>
          <p:cNvGrpSpPr/>
          <p:nvPr userDrawn="1"/>
        </p:nvGrpSpPr>
        <p:grpSpPr>
          <a:xfrm>
            <a:off x="9318251" y="6528816"/>
            <a:ext cx="2033975" cy="256591"/>
            <a:chOff x="9596444" y="6528816"/>
            <a:chExt cx="2033975" cy="256591"/>
          </a:xfrm>
        </p:grpSpPr>
        <p:grpSp>
          <p:nvGrpSpPr>
            <p:cNvPr id="47" name="Group 46">
              <a:extLst>
                <a:ext uri="{FF2B5EF4-FFF2-40B4-BE49-F238E27FC236}">
                  <a16:creationId xmlns:a16="http://schemas.microsoft.com/office/drawing/2014/main" id="{A762231C-2842-4BF6-A930-A2EF831A9C73}"/>
                </a:ext>
              </a:extLst>
            </p:cNvPr>
            <p:cNvGrpSpPr/>
            <p:nvPr userDrawn="1"/>
          </p:nvGrpSpPr>
          <p:grpSpPr>
            <a:xfrm>
              <a:off x="10651738" y="6560134"/>
              <a:ext cx="978681" cy="225273"/>
              <a:chOff x="10651738" y="6560134"/>
              <a:chExt cx="978681" cy="225273"/>
            </a:xfrm>
          </p:grpSpPr>
          <p:sp>
            <p:nvSpPr>
              <p:cNvPr id="31" name="Freeform: Shape 30">
                <a:extLst>
                  <a:ext uri="{FF2B5EF4-FFF2-40B4-BE49-F238E27FC236}">
                    <a16:creationId xmlns:a16="http://schemas.microsoft.com/office/drawing/2014/main" id="{4CF5CE64-B4E4-4BE0-AFB4-7167FE86361D}"/>
                  </a:ext>
                </a:extLst>
              </p:cNvPr>
              <p:cNvSpPr/>
              <p:nvPr/>
            </p:nvSpPr>
            <p:spPr bwMode="ltGray">
              <a:xfrm>
                <a:off x="10843572" y="6560134"/>
                <a:ext cx="296205" cy="225273"/>
              </a:xfrm>
              <a:custGeom>
                <a:avLst/>
                <a:gdLst>
                  <a:gd name="connsiteX0" fmla="*/ 16193 w 867727"/>
                  <a:gd name="connsiteY0" fmla="*/ 641033 h 641032"/>
                  <a:gd name="connsiteX1" fmla="*/ 36195 w 867727"/>
                  <a:gd name="connsiteY1" fmla="*/ 630555 h 641032"/>
                  <a:gd name="connsiteX2" fmla="*/ 65723 w 867727"/>
                  <a:gd name="connsiteY2" fmla="*/ 573405 h 641032"/>
                  <a:gd name="connsiteX3" fmla="*/ 464820 w 867727"/>
                  <a:gd name="connsiteY3" fmla="*/ 90488 h 641032"/>
                  <a:gd name="connsiteX4" fmla="*/ 529590 w 867727"/>
                  <a:gd name="connsiteY4" fmla="*/ 45720 h 641032"/>
                  <a:gd name="connsiteX5" fmla="*/ 454342 w 867727"/>
                  <a:gd name="connsiteY5" fmla="*/ 292418 h 641032"/>
                  <a:gd name="connsiteX6" fmla="*/ 440055 w 867727"/>
                  <a:gd name="connsiteY6" fmla="*/ 328613 h 641032"/>
                  <a:gd name="connsiteX7" fmla="*/ 378142 w 867727"/>
                  <a:gd name="connsiteY7" fmla="*/ 519113 h 641032"/>
                  <a:gd name="connsiteX8" fmla="*/ 388620 w 867727"/>
                  <a:gd name="connsiteY8" fmla="*/ 527685 h 641032"/>
                  <a:gd name="connsiteX9" fmla="*/ 464820 w 867727"/>
                  <a:gd name="connsiteY9" fmla="*/ 493395 h 641032"/>
                  <a:gd name="connsiteX10" fmla="*/ 568643 w 867727"/>
                  <a:gd name="connsiteY10" fmla="*/ 348615 h 641032"/>
                  <a:gd name="connsiteX11" fmla="*/ 733425 w 867727"/>
                  <a:gd name="connsiteY11" fmla="*/ 131445 h 641032"/>
                  <a:gd name="connsiteX12" fmla="*/ 723900 w 867727"/>
                  <a:gd name="connsiteY12" fmla="*/ 175260 h 641032"/>
                  <a:gd name="connsiteX13" fmla="*/ 694372 w 867727"/>
                  <a:gd name="connsiteY13" fmla="*/ 380048 h 641032"/>
                  <a:gd name="connsiteX14" fmla="*/ 742950 w 867727"/>
                  <a:gd name="connsiteY14" fmla="*/ 519113 h 641032"/>
                  <a:gd name="connsiteX15" fmla="*/ 792480 w 867727"/>
                  <a:gd name="connsiteY15" fmla="*/ 542925 h 641032"/>
                  <a:gd name="connsiteX16" fmla="*/ 867728 w 867727"/>
                  <a:gd name="connsiteY16" fmla="*/ 510540 h 641032"/>
                  <a:gd name="connsiteX17" fmla="*/ 769620 w 867727"/>
                  <a:gd name="connsiteY17" fmla="*/ 339090 h 641032"/>
                  <a:gd name="connsiteX18" fmla="*/ 794385 w 867727"/>
                  <a:gd name="connsiteY18" fmla="*/ 160973 h 641032"/>
                  <a:gd name="connsiteX19" fmla="*/ 804863 w 867727"/>
                  <a:gd name="connsiteY19" fmla="*/ 94298 h 641032"/>
                  <a:gd name="connsiteX20" fmla="*/ 798195 w 867727"/>
                  <a:gd name="connsiteY20" fmla="*/ 83820 h 641032"/>
                  <a:gd name="connsiteX21" fmla="*/ 737235 w 867727"/>
                  <a:gd name="connsiteY21" fmla="*/ 105728 h 641032"/>
                  <a:gd name="connsiteX22" fmla="*/ 692468 w 867727"/>
                  <a:gd name="connsiteY22" fmla="*/ 140970 h 641032"/>
                  <a:gd name="connsiteX23" fmla="*/ 663893 w 867727"/>
                  <a:gd name="connsiteY23" fmla="*/ 175260 h 641032"/>
                  <a:gd name="connsiteX24" fmla="*/ 600075 w 867727"/>
                  <a:gd name="connsiteY24" fmla="*/ 256223 h 641032"/>
                  <a:gd name="connsiteX25" fmla="*/ 506730 w 867727"/>
                  <a:gd name="connsiteY25" fmla="*/ 378143 h 641032"/>
                  <a:gd name="connsiteX26" fmla="*/ 463867 w 867727"/>
                  <a:gd name="connsiteY26" fmla="*/ 434340 h 641032"/>
                  <a:gd name="connsiteX27" fmla="*/ 504825 w 867727"/>
                  <a:gd name="connsiteY27" fmla="*/ 323850 h 641032"/>
                  <a:gd name="connsiteX28" fmla="*/ 601980 w 867727"/>
                  <a:gd name="connsiteY28" fmla="*/ 27623 h 641032"/>
                  <a:gd name="connsiteX29" fmla="*/ 584835 w 867727"/>
                  <a:gd name="connsiteY29" fmla="*/ 0 h 641032"/>
                  <a:gd name="connsiteX30" fmla="*/ 555308 w 867727"/>
                  <a:gd name="connsiteY30" fmla="*/ 6668 h 641032"/>
                  <a:gd name="connsiteX31" fmla="*/ 431483 w 867727"/>
                  <a:gd name="connsiteY31" fmla="*/ 81915 h 641032"/>
                  <a:gd name="connsiteX32" fmla="*/ 0 w 867727"/>
                  <a:gd name="connsiteY32" fmla="*/ 629603 h 641032"/>
                  <a:gd name="connsiteX33" fmla="*/ 16193 w 867727"/>
                  <a:gd name="connsiteY33" fmla="*/ 641033 h 64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67727" h="641032">
                    <a:moveTo>
                      <a:pt x="16193" y="641033"/>
                    </a:moveTo>
                    <a:lnTo>
                      <a:pt x="36195" y="630555"/>
                    </a:lnTo>
                    <a:cubicBezTo>
                      <a:pt x="48577" y="603885"/>
                      <a:pt x="55245" y="591503"/>
                      <a:pt x="65723" y="573405"/>
                    </a:cubicBezTo>
                    <a:cubicBezTo>
                      <a:pt x="98108" y="520065"/>
                      <a:pt x="320040" y="207645"/>
                      <a:pt x="464820" y="90488"/>
                    </a:cubicBezTo>
                    <a:cubicBezTo>
                      <a:pt x="491490" y="69533"/>
                      <a:pt x="505778" y="58103"/>
                      <a:pt x="529590" y="45720"/>
                    </a:cubicBezTo>
                    <a:cubicBezTo>
                      <a:pt x="528638" y="95250"/>
                      <a:pt x="518160" y="122873"/>
                      <a:pt x="454342" y="292418"/>
                    </a:cubicBezTo>
                    <a:lnTo>
                      <a:pt x="440055" y="328613"/>
                    </a:lnTo>
                    <a:cubicBezTo>
                      <a:pt x="404813" y="421958"/>
                      <a:pt x="378142" y="503873"/>
                      <a:pt x="378142" y="519113"/>
                    </a:cubicBezTo>
                    <a:cubicBezTo>
                      <a:pt x="378142" y="524828"/>
                      <a:pt x="381953" y="527685"/>
                      <a:pt x="388620" y="527685"/>
                    </a:cubicBezTo>
                    <a:cubicBezTo>
                      <a:pt x="406717" y="527685"/>
                      <a:pt x="450533" y="508635"/>
                      <a:pt x="464820" y="493395"/>
                    </a:cubicBezTo>
                    <a:cubicBezTo>
                      <a:pt x="483870" y="472440"/>
                      <a:pt x="553403" y="369570"/>
                      <a:pt x="568643" y="348615"/>
                    </a:cubicBezTo>
                    <a:cubicBezTo>
                      <a:pt x="622935" y="274320"/>
                      <a:pt x="676275" y="200978"/>
                      <a:pt x="733425" y="131445"/>
                    </a:cubicBezTo>
                    <a:cubicBezTo>
                      <a:pt x="731520" y="144780"/>
                      <a:pt x="729615" y="152400"/>
                      <a:pt x="723900" y="175260"/>
                    </a:cubicBezTo>
                    <a:cubicBezTo>
                      <a:pt x="702945" y="276225"/>
                      <a:pt x="694372" y="332423"/>
                      <a:pt x="694372" y="380048"/>
                    </a:cubicBezTo>
                    <a:cubicBezTo>
                      <a:pt x="694372" y="441008"/>
                      <a:pt x="712470" y="492443"/>
                      <a:pt x="742950" y="519113"/>
                    </a:cubicBezTo>
                    <a:cubicBezTo>
                      <a:pt x="758190" y="531495"/>
                      <a:pt x="769620" y="538163"/>
                      <a:pt x="792480" y="542925"/>
                    </a:cubicBezTo>
                    <a:lnTo>
                      <a:pt x="867728" y="510540"/>
                    </a:lnTo>
                    <a:cubicBezTo>
                      <a:pt x="800100" y="486728"/>
                      <a:pt x="769620" y="432435"/>
                      <a:pt x="769620" y="339090"/>
                    </a:cubicBezTo>
                    <a:cubicBezTo>
                      <a:pt x="769620" y="289560"/>
                      <a:pt x="779145" y="221933"/>
                      <a:pt x="794385" y="160973"/>
                    </a:cubicBezTo>
                    <a:cubicBezTo>
                      <a:pt x="801053" y="133350"/>
                      <a:pt x="804863" y="110490"/>
                      <a:pt x="804863" y="94298"/>
                    </a:cubicBezTo>
                    <a:cubicBezTo>
                      <a:pt x="804863" y="87630"/>
                      <a:pt x="802958" y="83820"/>
                      <a:pt x="798195" y="83820"/>
                    </a:cubicBezTo>
                    <a:cubicBezTo>
                      <a:pt x="794385" y="83820"/>
                      <a:pt x="762953" y="93345"/>
                      <a:pt x="737235" y="105728"/>
                    </a:cubicBezTo>
                    <a:cubicBezTo>
                      <a:pt x="716280" y="116205"/>
                      <a:pt x="709613" y="120968"/>
                      <a:pt x="692468" y="140970"/>
                    </a:cubicBezTo>
                    <a:lnTo>
                      <a:pt x="663893" y="175260"/>
                    </a:lnTo>
                    <a:cubicBezTo>
                      <a:pt x="644843" y="198120"/>
                      <a:pt x="640080" y="202883"/>
                      <a:pt x="600075" y="256223"/>
                    </a:cubicBezTo>
                    <a:cubicBezTo>
                      <a:pt x="568643" y="297180"/>
                      <a:pt x="538163" y="338138"/>
                      <a:pt x="506730" y="378143"/>
                    </a:cubicBezTo>
                    <a:lnTo>
                      <a:pt x="463867" y="434340"/>
                    </a:lnTo>
                    <a:cubicBezTo>
                      <a:pt x="466725" y="413385"/>
                      <a:pt x="482917" y="371475"/>
                      <a:pt x="504825" y="323850"/>
                    </a:cubicBezTo>
                    <a:cubicBezTo>
                      <a:pt x="552450" y="222885"/>
                      <a:pt x="601980" y="73343"/>
                      <a:pt x="601980" y="27623"/>
                    </a:cubicBezTo>
                    <a:cubicBezTo>
                      <a:pt x="601980" y="8573"/>
                      <a:pt x="596265" y="0"/>
                      <a:pt x="584835" y="0"/>
                    </a:cubicBezTo>
                    <a:cubicBezTo>
                      <a:pt x="576263" y="0"/>
                      <a:pt x="568643" y="1905"/>
                      <a:pt x="555308" y="6668"/>
                    </a:cubicBezTo>
                    <a:cubicBezTo>
                      <a:pt x="495300" y="30480"/>
                      <a:pt x="473392" y="42863"/>
                      <a:pt x="431483" y="81915"/>
                    </a:cubicBezTo>
                    <a:cubicBezTo>
                      <a:pt x="325755" y="180975"/>
                      <a:pt x="105727" y="449580"/>
                      <a:pt x="0" y="629603"/>
                    </a:cubicBezTo>
                    <a:lnTo>
                      <a:pt x="16193" y="641033"/>
                    </a:lnTo>
                    <a:close/>
                  </a:path>
                </a:pathLst>
              </a:custGeom>
              <a:solidFill>
                <a:srgbClr val="7BBCE0"/>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E739F47-0957-4DB6-B1AF-2327B7BB261C}"/>
                  </a:ext>
                </a:extLst>
              </p:cNvPr>
              <p:cNvSpPr/>
              <p:nvPr/>
            </p:nvSpPr>
            <p:spPr bwMode="ltGray">
              <a:xfrm>
                <a:off x="11610910" y="6636452"/>
                <a:ext cx="18858" cy="20084"/>
              </a:xfrm>
              <a:custGeom>
                <a:avLst/>
                <a:gdLst>
                  <a:gd name="connsiteX0" fmla="*/ 27622 w 55244"/>
                  <a:gd name="connsiteY0" fmla="*/ 0 h 57150"/>
                  <a:gd name="connsiteX1" fmla="*/ 55245 w 55244"/>
                  <a:gd name="connsiteY1" fmla="*/ 28575 h 57150"/>
                  <a:gd name="connsiteX2" fmla="*/ 27622 w 55244"/>
                  <a:gd name="connsiteY2" fmla="*/ 57150 h 57150"/>
                  <a:gd name="connsiteX3" fmla="*/ 0 w 55244"/>
                  <a:gd name="connsiteY3" fmla="*/ 28575 h 57150"/>
                  <a:gd name="connsiteX4" fmla="*/ 27622 w 55244"/>
                  <a:gd name="connsiteY4" fmla="*/ 0 h 57150"/>
                  <a:gd name="connsiteX5" fmla="*/ 27622 w 55244"/>
                  <a:gd name="connsiteY5" fmla="*/ 52388 h 57150"/>
                  <a:gd name="connsiteX6" fmla="*/ 50482 w 55244"/>
                  <a:gd name="connsiteY6" fmla="*/ 28575 h 57150"/>
                  <a:gd name="connsiteX7" fmla="*/ 27622 w 55244"/>
                  <a:gd name="connsiteY7" fmla="*/ 4763 h 57150"/>
                  <a:gd name="connsiteX8" fmla="*/ 4763 w 55244"/>
                  <a:gd name="connsiteY8" fmla="*/ 28575 h 57150"/>
                  <a:gd name="connsiteX9" fmla="*/ 27622 w 55244"/>
                  <a:gd name="connsiteY9" fmla="*/ 52388 h 57150"/>
                  <a:gd name="connsiteX10" fmla="*/ 17145 w 55244"/>
                  <a:gd name="connsiteY10" fmla="*/ 11430 h 57150"/>
                  <a:gd name="connsiteX11" fmla="*/ 29528 w 55244"/>
                  <a:gd name="connsiteY11" fmla="*/ 11430 h 57150"/>
                  <a:gd name="connsiteX12" fmla="*/ 40957 w 55244"/>
                  <a:gd name="connsiteY12" fmla="*/ 20955 h 57150"/>
                  <a:gd name="connsiteX13" fmla="*/ 32385 w 55244"/>
                  <a:gd name="connsiteY13" fmla="*/ 29527 h 57150"/>
                  <a:gd name="connsiteX14" fmla="*/ 41910 w 55244"/>
                  <a:gd name="connsiteY14" fmla="*/ 43815 h 57150"/>
                  <a:gd name="connsiteX15" fmla="*/ 36195 w 55244"/>
                  <a:gd name="connsiteY15" fmla="*/ 43815 h 57150"/>
                  <a:gd name="connsiteX16" fmla="*/ 27622 w 55244"/>
                  <a:gd name="connsiteY16" fmla="*/ 29527 h 57150"/>
                  <a:gd name="connsiteX17" fmla="*/ 21907 w 55244"/>
                  <a:gd name="connsiteY17" fmla="*/ 29527 h 57150"/>
                  <a:gd name="connsiteX18" fmla="*/ 21907 w 55244"/>
                  <a:gd name="connsiteY18" fmla="*/ 43815 h 57150"/>
                  <a:gd name="connsiteX19" fmla="*/ 17145 w 55244"/>
                  <a:gd name="connsiteY19" fmla="*/ 43815 h 57150"/>
                  <a:gd name="connsiteX20" fmla="*/ 17145 w 55244"/>
                  <a:gd name="connsiteY20" fmla="*/ 11430 h 57150"/>
                  <a:gd name="connsiteX21" fmla="*/ 21907 w 55244"/>
                  <a:gd name="connsiteY21" fmla="*/ 26670 h 57150"/>
                  <a:gd name="connsiteX22" fmla="*/ 26670 w 55244"/>
                  <a:gd name="connsiteY22" fmla="*/ 26670 h 57150"/>
                  <a:gd name="connsiteX23" fmla="*/ 35243 w 55244"/>
                  <a:gd name="connsiteY23" fmla="*/ 20955 h 57150"/>
                  <a:gd name="connsiteX24" fmla="*/ 27622 w 55244"/>
                  <a:gd name="connsiteY24" fmla="*/ 16192 h 57150"/>
                  <a:gd name="connsiteX25" fmla="*/ 20955 w 55244"/>
                  <a:gd name="connsiteY25" fmla="*/ 16192 h 57150"/>
                  <a:gd name="connsiteX26" fmla="*/ 20955 w 55244"/>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44" h="57150">
                    <a:moveTo>
                      <a:pt x="27622" y="0"/>
                    </a:moveTo>
                    <a:cubicBezTo>
                      <a:pt x="42863" y="0"/>
                      <a:pt x="55245" y="12382"/>
                      <a:pt x="55245" y="28575"/>
                    </a:cubicBezTo>
                    <a:cubicBezTo>
                      <a:pt x="55245" y="44767"/>
                      <a:pt x="42863" y="57150"/>
                      <a:pt x="27622" y="57150"/>
                    </a:cubicBezTo>
                    <a:cubicBezTo>
                      <a:pt x="12382" y="57150"/>
                      <a:pt x="0" y="44767"/>
                      <a:pt x="0" y="28575"/>
                    </a:cubicBezTo>
                    <a:cubicBezTo>
                      <a:pt x="0" y="12382"/>
                      <a:pt x="12382" y="0"/>
                      <a:pt x="27622" y="0"/>
                    </a:cubicBezTo>
                    <a:moveTo>
                      <a:pt x="27622" y="52388"/>
                    </a:moveTo>
                    <a:cubicBezTo>
                      <a:pt x="40005" y="52388"/>
                      <a:pt x="50482" y="41910"/>
                      <a:pt x="50482" y="28575"/>
                    </a:cubicBezTo>
                    <a:cubicBezTo>
                      <a:pt x="50482" y="15240"/>
                      <a:pt x="40005" y="4763"/>
                      <a:pt x="27622" y="4763"/>
                    </a:cubicBezTo>
                    <a:cubicBezTo>
                      <a:pt x="14288" y="4763"/>
                      <a:pt x="4763" y="15240"/>
                      <a:pt x="4763" y="28575"/>
                    </a:cubicBezTo>
                    <a:cubicBezTo>
                      <a:pt x="4763" y="41910"/>
                      <a:pt x="15240" y="52388"/>
                      <a:pt x="27622" y="52388"/>
                    </a:cubicBezTo>
                    <a:moveTo>
                      <a:pt x="17145" y="11430"/>
                    </a:moveTo>
                    <a:lnTo>
                      <a:pt x="29528" y="11430"/>
                    </a:lnTo>
                    <a:cubicBezTo>
                      <a:pt x="37147" y="11430"/>
                      <a:pt x="40957" y="14288"/>
                      <a:pt x="40957" y="20955"/>
                    </a:cubicBezTo>
                    <a:cubicBezTo>
                      <a:pt x="40957" y="26670"/>
                      <a:pt x="37147" y="29527"/>
                      <a:pt x="32385" y="29527"/>
                    </a:cubicBezTo>
                    <a:lnTo>
                      <a:pt x="41910" y="43815"/>
                    </a:lnTo>
                    <a:lnTo>
                      <a:pt x="36195" y="43815"/>
                    </a:lnTo>
                    <a:lnTo>
                      <a:pt x="27622" y="29527"/>
                    </a:lnTo>
                    <a:lnTo>
                      <a:pt x="21907" y="29527"/>
                    </a:lnTo>
                    <a:lnTo>
                      <a:pt x="21907" y="43815"/>
                    </a:lnTo>
                    <a:lnTo>
                      <a:pt x="17145" y="43815"/>
                    </a:lnTo>
                    <a:lnTo>
                      <a:pt x="17145" y="11430"/>
                    </a:lnTo>
                    <a:close/>
                    <a:moveTo>
                      <a:pt x="21907" y="26670"/>
                    </a:moveTo>
                    <a:lnTo>
                      <a:pt x="26670" y="26670"/>
                    </a:lnTo>
                    <a:cubicBezTo>
                      <a:pt x="31432" y="26670"/>
                      <a:pt x="35243" y="26670"/>
                      <a:pt x="35243" y="20955"/>
                    </a:cubicBezTo>
                    <a:cubicBezTo>
                      <a:pt x="35243" y="16192"/>
                      <a:pt x="31432" y="16192"/>
                      <a:pt x="27622" y="16192"/>
                    </a:cubicBezTo>
                    <a:lnTo>
                      <a:pt x="20955" y="16192"/>
                    </a:lnTo>
                    <a:lnTo>
                      <a:pt x="20955" y="26670"/>
                    </a:lnTo>
                    <a:close/>
                  </a:path>
                </a:pathLst>
              </a:custGeom>
              <a:solidFill>
                <a:schemeClr val="bg1"/>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0A2430F6-6359-4980-BB17-DD0F837EB2C5}"/>
                  </a:ext>
                </a:extLst>
              </p:cNvPr>
              <p:cNvSpPr/>
              <p:nvPr/>
            </p:nvSpPr>
            <p:spPr bwMode="ltGray">
              <a:xfrm>
                <a:off x="10651738" y="6637122"/>
                <a:ext cx="42269" cy="64603"/>
              </a:xfrm>
              <a:custGeom>
                <a:avLst/>
                <a:gdLst>
                  <a:gd name="connsiteX0" fmla="*/ 0 w 123825"/>
                  <a:gd name="connsiteY0" fmla="*/ 0 h 183832"/>
                  <a:gd name="connsiteX1" fmla="*/ 64770 w 123825"/>
                  <a:gd name="connsiteY1" fmla="*/ 0 h 183832"/>
                  <a:gd name="connsiteX2" fmla="*/ 123825 w 123825"/>
                  <a:gd name="connsiteY2" fmla="*/ 51435 h 183832"/>
                  <a:gd name="connsiteX3" fmla="*/ 64770 w 123825"/>
                  <a:gd name="connsiteY3" fmla="*/ 102870 h 183832"/>
                  <a:gd name="connsiteX4" fmla="*/ 24765 w 123825"/>
                  <a:gd name="connsiteY4" fmla="*/ 102870 h 183832"/>
                  <a:gd name="connsiteX5" fmla="*/ 24765 w 123825"/>
                  <a:gd name="connsiteY5" fmla="*/ 183833 h 183832"/>
                  <a:gd name="connsiteX6" fmla="*/ 0 w 123825"/>
                  <a:gd name="connsiteY6" fmla="*/ 183833 h 183832"/>
                  <a:gd name="connsiteX7" fmla="*/ 0 w 123825"/>
                  <a:gd name="connsiteY7" fmla="*/ 0 h 183832"/>
                  <a:gd name="connsiteX8" fmla="*/ 24765 w 123825"/>
                  <a:gd name="connsiteY8" fmla="*/ 81915 h 183832"/>
                  <a:gd name="connsiteX9" fmla="*/ 57150 w 123825"/>
                  <a:gd name="connsiteY9" fmla="*/ 81915 h 183832"/>
                  <a:gd name="connsiteX10" fmla="*/ 97155 w 123825"/>
                  <a:gd name="connsiteY10" fmla="*/ 52388 h 183832"/>
                  <a:gd name="connsiteX11" fmla="*/ 57150 w 123825"/>
                  <a:gd name="connsiteY11" fmla="*/ 22860 h 183832"/>
                  <a:gd name="connsiteX12" fmla="*/ 24765 w 123825"/>
                  <a:gd name="connsiteY12" fmla="*/ 22860 h 183832"/>
                  <a:gd name="connsiteX13" fmla="*/ 24765 w 123825"/>
                  <a:gd name="connsiteY13"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83832">
                    <a:moveTo>
                      <a:pt x="0" y="0"/>
                    </a:moveTo>
                    <a:lnTo>
                      <a:pt x="64770" y="0"/>
                    </a:lnTo>
                    <a:cubicBezTo>
                      <a:pt x="112395" y="0"/>
                      <a:pt x="123825" y="28575"/>
                      <a:pt x="123825" y="51435"/>
                    </a:cubicBezTo>
                    <a:cubicBezTo>
                      <a:pt x="123825" y="74295"/>
                      <a:pt x="111443" y="102870"/>
                      <a:pt x="64770" y="102870"/>
                    </a:cubicBez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9DBA77AF-5247-4F8A-B7CE-0368FAAA429C}"/>
                  </a:ext>
                </a:extLst>
              </p:cNvPr>
              <p:cNvSpPr/>
              <p:nvPr/>
            </p:nvSpPr>
            <p:spPr bwMode="ltGray">
              <a:xfrm>
                <a:off x="10720668" y="6637122"/>
                <a:ext cx="48771" cy="66611"/>
              </a:xfrm>
              <a:custGeom>
                <a:avLst/>
                <a:gdLst>
                  <a:gd name="connsiteX0" fmla="*/ 24765 w 142875"/>
                  <a:gd name="connsiteY0" fmla="*/ 0 h 189547"/>
                  <a:gd name="connsiteX1" fmla="*/ 24765 w 142875"/>
                  <a:gd name="connsiteY1" fmla="*/ 113348 h 189547"/>
                  <a:gd name="connsiteX2" fmla="*/ 71438 w 142875"/>
                  <a:gd name="connsiteY2" fmla="*/ 165735 h 189547"/>
                  <a:gd name="connsiteX3" fmla="*/ 118110 w 142875"/>
                  <a:gd name="connsiteY3" fmla="*/ 113348 h 189547"/>
                  <a:gd name="connsiteX4" fmla="*/ 118110 w 142875"/>
                  <a:gd name="connsiteY4" fmla="*/ 0 h 189547"/>
                  <a:gd name="connsiteX5" fmla="*/ 142875 w 142875"/>
                  <a:gd name="connsiteY5" fmla="*/ 0 h 189547"/>
                  <a:gd name="connsiteX6" fmla="*/ 142875 w 142875"/>
                  <a:gd name="connsiteY6" fmla="*/ 117158 h 189547"/>
                  <a:gd name="connsiteX7" fmla="*/ 71438 w 142875"/>
                  <a:gd name="connsiteY7" fmla="*/ 189548 h 189547"/>
                  <a:gd name="connsiteX8" fmla="*/ 0 w 142875"/>
                  <a:gd name="connsiteY8" fmla="*/ 117158 h 189547"/>
                  <a:gd name="connsiteX9" fmla="*/ 0 w 142875"/>
                  <a:gd name="connsiteY9" fmla="*/ 0 h 189547"/>
                  <a:gd name="connsiteX10" fmla="*/ 24765 w 142875"/>
                  <a:gd name="connsiteY10"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9547">
                    <a:moveTo>
                      <a:pt x="24765" y="0"/>
                    </a:moveTo>
                    <a:lnTo>
                      <a:pt x="24765" y="113348"/>
                    </a:lnTo>
                    <a:cubicBezTo>
                      <a:pt x="24765" y="136208"/>
                      <a:pt x="36195" y="165735"/>
                      <a:pt x="71438" y="165735"/>
                    </a:cubicBezTo>
                    <a:cubicBezTo>
                      <a:pt x="106680" y="165735"/>
                      <a:pt x="118110" y="136208"/>
                      <a:pt x="118110" y="113348"/>
                    </a:cubicBezTo>
                    <a:lnTo>
                      <a:pt x="118110" y="0"/>
                    </a:lnTo>
                    <a:lnTo>
                      <a:pt x="142875" y="0"/>
                    </a:lnTo>
                    <a:lnTo>
                      <a:pt x="142875" y="117158"/>
                    </a:lnTo>
                    <a:cubicBezTo>
                      <a:pt x="142875" y="160020"/>
                      <a:pt x="111443" y="189548"/>
                      <a:pt x="71438" y="189548"/>
                    </a:cubicBezTo>
                    <a:cubicBezTo>
                      <a:pt x="31432" y="189548"/>
                      <a:pt x="0" y="160020"/>
                      <a:pt x="0" y="117158"/>
                    </a:cubicBezTo>
                    <a:lnTo>
                      <a:pt x="0" y="0"/>
                    </a:lnTo>
                    <a:lnTo>
                      <a:pt x="24765" y="0"/>
                    </a:lnTo>
                    <a:close/>
                  </a:path>
                </a:pathLst>
              </a:custGeom>
              <a:solidFill>
                <a:schemeClr val="bg1"/>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2F2A359-4B2E-4136-9BB4-A5B8B1CC816C}"/>
                  </a:ext>
                </a:extLst>
              </p:cNvPr>
              <p:cNvSpPr/>
              <p:nvPr/>
            </p:nvSpPr>
            <p:spPr bwMode="ltGray">
              <a:xfrm>
                <a:off x="10802279" y="6637122"/>
                <a:ext cx="44544" cy="64603"/>
              </a:xfrm>
              <a:custGeom>
                <a:avLst/>
                <a:gdLst>
                  <a:gd name="connsiteX0" fmla="*/ 0 w 130492"/>
                  <a:gd name="connsiteY0" fmla="*/ 0 h 183832"/>
                  <a:gd name="connsiteX1" fmla="*/ 64770 w 130492"/>
                  <a:gd name="connsiteY1" fmla="*/ 0 h 183832"/>
                  <a:gd name="connsiteX2" fmla="*/ 123825 w 130492"/>
                  <a:gd name="connsiteY2" fmla="*/ 51435 h 183832"/>
                  <a:gd name="connsiteX3" fmla="*/ 78105 w 130492"/>
                  <a:gd name="connsiteY3" fmla="*/ 100013 h 183832"/>
                  <a:gd name="connsiteX4" fmla="*/ 130493 w 130492"/>
                  <a:gd name="connsiteY4" fmla="*/ 183833 h 183832"/>
                  <a:gd name="connsiteX5" fmla="*/ 99060 w 130492"/>
                  <a:gd name="connsiteY5" fmla="*/ 183833 h 183832"/>
                  <a:gd name="connsiteX6" fmla="*/ 52388 w 130492"/>
                  <a:gd name="connsiteY6" fmla="*/ 102870 h 183832"/>
                  <a:gd name="connsiteX7" fmla="*/ 24765 w 130492"/>
                  <a:gd name="connsiteY7" fmla="*/ 102870 h 183832"/>
                  <a:gd name="connsiteX8" fmla="*/ 24765 w 130492"/>
                  <a:gd name="connsiteY8" fmla="*/ 183833 h 183832"/>
                  <a:gd name="connsiteX9" fmla="*/ 0 w 130492"/>
                  <a:gd name="connsiteY9" fmla="*/ 183833 h 183832"/>
                  <a:gd name="connsiteX10" fmla="*/ 0 w 130492"/>
                  <a:gd name="connsiteY10" fmla="*/ 0 h 183832"/>
                  <a:gd name="connsiteX11" fmla="*/ 24765 w 130492"/>
                  <a:gd name="connsiteY11" fmla="*/ 81915 h 183832"/>
                  <a:gd name="connsiteX12" fmla="*/ 57150 w 130492"/>
                  <a:gd name="connsiteY12" fmla="*/ 81915 h 183832"/>
                  <a:gd name="connsiteX13" fmla="*/ 97155 w 130492"/>
                  <a:gd name="connsiteY13" fmla="*/ 52388 h 183832"/>
                  <a:gd name="connsiteX14" fmla="*/ 57150 w 130492"/>
                  <a:gd name="connsiteY14" fmla="*/ 22860 h 183832"/>
                  <a:gd name="connsiteX15" fmla="*/ 24765 w 130492"/>
                  <a:gd name="connsiteY15" fmla="*/ 22860 h 183832"/>
                  <a:gd name="connsiteX16" fmla="*/ 24765 w 130492"/>
                  <a:gd name="connsiteY16" fmla="*/ 81915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92" h="183832">
                    <a:moveTo>
                      <a:pt x="0" y="0"/>
                    </a:moveTo>
                    <a:lnTo>
                      <a:pt x="64770" y="0"/>
                    </a:lnTo>
                    <a:cubicBezTo>
                      <a:pt x="112395" y="0"/>
                      <a:pt x="123825" y="28575"/>
                      <a:pt x="123825" y="51435"/>
                    </a:cubicBezTo>
                    <a:cubicBezTo>
                      <a:pt x="123825" y="75248"/>
                      <a:pt x="106680" y="97155"/>
                      <a:pt x="78105" y="100013"/>
                    </a:cubicBezTo>
                    <a:lnTo>
                      <a:pt x="130493" y="183833"/>
                    </a:lnTo>
                    <a:lnTo>
                      <a:pt x="99060" y="183833"/>
                    </a:lnTo>
                    <a:lnTo>
                      <a:pt x="52388" y="102870"/>
                    </a:lnTo>
                    <a:lnTo>
                      <a:pt x="24765" y="102870"/>
                    </a:lnTo>
                    <a:lnTo>
                      <a:pt x="24765" y="183833"/>
                    </a:lnTo>
                    <a:lnTo>
                      <a:pt x="0" y="183833"/>
                    </a:lnTo>
                    <a:lnTo>
                      <a:pt x="0" y="0"/>
                    </a:lnTo>
                    <a:close/>
                    <a:moveTo>
                      <a:pt x="24765" y="81915"/>
                    </a:moveTo>
                    <a:lnTo>
                      <a:pt x="57150" y="81915"/>
                    </a:lnTo>
                    <a:cubicBezTo>
                      <a:pt x="77153" y="81915"/>
                      <a:pt x="97155" y="77153"/>
                      <a:pt x="97155" y="52388"/>
                    </a:cubicBezTo>
                    <a:cubicBezTo>
                      <a:pt x="97155" y="27622"/>
                      <a:pt x="77153" y="22860"/>
                      <a:pt x="57150" y="22860"/>
                    </a:cubicBezTo>
                    <a:lnTo>
                      <a:pt x="24765" y="22860"/>
                    </a:lnTo>
                    <a:lnTo>
                      <a:pt x="24765" y="81915"/>
                    </a:lnTo>
                    <a:close/>
                  </a:path>
                </a:pathLst>
              </a:custGeom>
              <a:solidFill>
                <a:schemeClr val="bg1"/>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565362A-F5DF-412C-9FDD-D74F55BE0CD4}"/>
                  </a:ext>
                </a:extLst>
              </p:cNvPr>
              <p:cNvSpPr/>
              <p:nvPr/>
            </p:nvSpPr>
            <p:spPr bwMode="ltGray">
              <a:xfrm>
                <a:off x="10874136" y="6637122"/>
                <a:ext cx="42269" cy="64937"/>
              </a:xfrm>
              <a:custGeom>
                <a:avLst/>
                <a:gdLst>
                  <a:gd name="connsiteX0" fmla="*/ 0 w 123825"/>
                  <a:gd name="connsiteY0" fmla="*/ 0 h 184784"/>
                  <a:gd name="connsiteX1" fmla="*/ 119063 w 123825"/>
                  <a:gd name="connsiteY1" fmla="*/ 0 h 184784"/>
                  <a:gd name="connsiteX2" fmla="*/ 119063 w 123825"/>
                  <a:gd name="connsiteY2" fmla="*/ 23813 h 184784"/>
                  <a:gd name="connsiteX3" fmla="*/ 25717 w 123825"/>
                  <a:gd name="connsiteY3" fmla="*/ 23813 h 184784"/>
                  <a:gd name="connsiteX4" fmla="*/ 25717 w 123825"/>
                  <a:gd name="connsiteY4" fmla="*/ 79058 h 184784"/>
                  <a:gd name="connsiteX5" fmla="*/ 113348 w 123825"/>
                  <a:gd name="connsiteY5" fmla="*/ 79058 h 184784"/>
                  <a:gd name="connsiteX6" fmla="*/ 113348 w 123825"/>
                  <a:gd name="connsiteY6" fmla="*/ 101917 h 184784"/>
                  <a:gd name="connsiteX7" fmla="*/ 25717 w 123825"/>
                  <a:gd name="connsiteY7" fmla="*/ 101917 h 184784"/>
                  <a:gd name="connsiteX8" fmla="*/ 25717 w 123825"/>
                  <a:gd name="connsiteY8" fmla="*/ 160973 h 184784"/>
                  <a:gd name="connsiteX9" fmla="*/ 123825 w 123825"/>
                  <a:gd name="connsiteY9" fmla="*/ 160973 h 184784"/>
                  <a:gd name="connsiteX10" fmla="*/ 123825 w 123825"/>
                  <a:gd name="connsiteY10" fmla="*/ 184785 h 184784"/>
                  <a:gd name="connsiteX11" fmla="*/ 0 w 123825"/>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825" h="184784">
                    <a:moveTo>
                      <a:pt x="0" y="0"/>
                    </a:moveTo>
                    <a:lnTo>
                      <a:pt x="119063" y="0"/>
                    </a:lnTo>
                    <a:lnTo>
                      <a:pt x="119063" y="23813"/>
                    </a:lnTo>
                    <a:lnTo>
                      <a:pt x="25717" y="23813"/>
                    </a:lnTo>
                    <a:lnTo>
                      <a:pt x="25717" y="79058"/>
                    </a:lnTo>
                    <a:lnTo>
                      <a:pt x="113348" y="79058"/>
                    </a:lnTo>
                    <a:lnTo>
                      <a:pt x="113348" y="101917"/>
                    </a:lnTo>
                    <a:lnTo>
                      <a:pt x="25717" y="101917"/>
                    </a:lnTo>
                    <a:lnTo>
                      <a:pt x="25717" y="160973"/>
                    </a:lnTo>
                    <a:lnTo>
                      <a:pt x="123825" y="160973"/>
                    </a:lnTo>
                    <a:lnTo>
                      <a:pt x="12382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3C8C76F-FA7F-4E44-AA50-DD18D1CC1A11}"/>
                  </a:ext>
                </a:extLst>
              </p:cNvPr>
              <p:cNvSpPr/>
              <p:nvPr/>
            </p:nvSpPr>
            <p:spPr bwMode="ltGray">
              <a:xfrm>
                <a:off x="11136201"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DA617E3-99D9-423F-8574-4C30F9DB69F7}"/>
                  </a:ext>
                </a:extLst>
              </p:cNvPr>
              <p:cNvSpPr/>
              <p:nvPr/>
            </p:nvSpPr>
            <p:spPr bwMode="ltGray">
              <a:xfrm>
                <a:off x="11174243" y="6635783"/>
                <a:ext cx="56250" cy="67950"/>
              </a:xfrm>
              <a:custGeom>
                <a:avLst/>
                <a:gdLst>
                  <a:gd name="connsiteX0" fmla="*/ 140017 w 164782"/>
                  <a:gd name="connsiteY0" fmla="*/ 43815 h 193357"/>
                  <a:gd name="connsiteX1" fmla="*/ 95250 w 164782"/>
                  <a:gd name="connsiteY1" fmla="*/ 22860 h 193357"/>
                  <a:gd name="connsiteX2" fmla="*/ 26670 w 164782"/>
                  <a:gd name="connsiteY2" fmla="*/ 98107 h 193357"/>
                  <a:gd name="connsiteX3" fmla="*/ 95250 w 164782"/>
                  <a:gd name="connsiteY3" fmla="*/ 169545 h 193357"/>
                  <a:gd name="connsiteX4" fmla="*/ 143828 w 164782"/>
                  <a:gd name="connsiteY4" fmla="*/ 144780 h 193357"/>
                  <a:gd name="connsiteX5" fmla="*/ 164783 w 164782"/>
                  <a:gd name="connsiteY5" fmla="*/ 160973 h 193357"/>
                  <a:gd name="connsiteX6" fmla="*/ 95250 w 164782"/>
                  <a:gd name="connsiteY6" fmla="*/ 193358 h 193357"/>
                  <a:gd name="connsiteX7" fmla="*/ 0 w 164782"/>
                  <a:gd name="connsiteY7" fmla="*/ 98107 h 193357"/>
                  <a:gd name="connsiteX8" fmla="*/ 96203 w 164782"/>
                  <a:gd name="connsiteY8" fmla="*/ 0 h 193357"/>
                  <a:gd name="connsiteX9" fmla="*/ 160973 w 164782"/>
                  <a:gd name="connsiteY9" fmla="*/ 28575 h 193357"/>
                  <a:gd name="connsiteX10" fmla="*/ 140017 w 164782"/>
                  <a:gd name="connsiteY10" fmla="*/ 43815 h 19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782" h="193357">
                    <a:moveTo>
                      <a:pt x="140017" y="43815"/>
                    </a:moveTo>
                    <a:cubicBezTo>
                      <a:pt x="129540" y="30480"/>
                      <a:pt x="112395" y="22860"/>
                      <a:pt x="95250" y="22860"/>
                    </a:cubicBezTo>
                    <a:cubicBezTo>
                      <a:pt x="54292" y="22860"/>
                      <a:pt x="26670" y="56197"/>
                      <a:pt x="26670" y="98107"/>
                    </a:cubicBezTo>
                    <a:cubicBezTo>
                      <a:pt x="26670" y="137160"/>
                      <a:pt x="52388" y="169545"/>
                      <a:pt x="95250" y="169545"/>
                    </a:cubicBezTo>
                    <a:cubicBezTo>
                      <a:pt x="116205" y="169545"/>
                      <a:pt x="132398" y="160020"/>
                      <a:pt x="143828" y="144780"/>
                    </a:cubicBezTo>
                    <a:lnTo>
                      <a:pt x="164783" y="160973"/>
                    </a:lnTo>
                    <a:cubicBezTo>
                      <a:pt x="159067" y="168593"/>
                      <a:pt x="137160" y="193358"/>
                      <a:pt x="95250" y="193358"/>
                    </a:cubicBezTo>
                    <a:cubicBezTo>
                      <a:pt x="36195" y="193358"/>
                      <a:pt x="0" y="144780"/>
                      <a:pt x="0" y="98107"/>
                    </a:cubicBezTo>
                    <a:cubicBezTo>
                      <a:pt x="0" y="40957"/>
                      <a:pt x="39053" y="0"/>
                      <a:pt x="96203" y="0"/>
                    </a:cubicBezTo>
                    <a:cubicBezTo>
                      <a:pt x="120015" y="0"/>
                      <a:pt x="145733" y="9525"/>
                      <a:pt x="160973" y="28575"/>
                    </a:cubicBezTo>
                    <a:lnTo>
                      <a:pt x="140017" y="43815"/>
                    </a:lnTo>
                    <a:close/>
                  </a:path>
                </a:pathLst>
              </a:custGeom>
              <a:solidFill>
                <a:schemeClr val="bg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A9359D0-3285-4608-934E-53B85D2A891A}"/>
                  </a:ext>
                </a:extLst>
              </p:cNvPr>
              <p:cNvSpPr/>
              <p:nvPr/>
            </p:nvSpPr>
            <p:spPr bwMode="ltGray">
              <a:xfrm>
                <a:off x="11257480" y="6637122"/>
                <a:ext cx="49747" cy="64937"/>
              </a:xfrm>
              <a:custGeom>
                <a:avLst/>
                <a:gdLst>
                  <a:gd name="connsiteX0" fmla="*/ 0 w 145732"/>
                  <a:gd name="connsiteY0" fmla="*/ 0 h 184784"/>
                  <a:gd name="connsiteX1" fmla="*/ 25717 w 145732"/>
                  <a:gd name="connsiteY1" fmla="*/ 0 h 184784"/>
                  <a:gd name="connsiteX2" fmla="*/ 25717 w 145732"/>
                  <a:gd name="connsiteY2" fmla="*/ 77153 h 184784"/>
                  <a:gd name="connsiteX3" fmla="*/ 120967 w 145732"/>
                  <a:gd name="connsiteY3" fmla="*/ 77153 h 184784"/>
                  <a:gd name="connsiteX4" fmla="*/ 120967 w 145732"/>
                  <a:gd name="connsiteY4" fmla="*/ 0 h 184784"/>
                  <a:gd name="connsiteX5" fmla="*/ 145733 w 145732"/>
                  <a:gd name="connsiteY5" fmla="*/ 0 h 184784"/>
                  <a:gd name="connsiteX6" fmla="*/ 145733 w 145732"/>
                  <a:gd name="connsiteY6" fmla="*/ 184785 h 184784"/>
                  <a:gd name="connsiteX7" fmla="*/ 120967 w 145732"/>
                  <a:gd name="connsiteY7" fmla="*/ 184785 h 184784"/>
                  <a:gd name="connsiteX8" fmla="*/ 120967 w 145732"/>
                  <a:gd name="connsiteY8" fmla="*/ 100013 h 184784"/>
                  <a:gd name="connsiteX9" fmla="*/ 25717 w 145732"/>
                  <a:gd name="connsiteY9" fmla="*/ 100013 h 184784"/>
                  <a:gd name="connsiteX10" fmla="*/ 25717 w 145732"/>
                  <a:gd name="connsiteY10" fmla="*/ 184785 h 184784"/>
                  <a:gd name="connsiteX11" fmla="*/ 0 w 145732"/>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2" h="184784">
                    <a:moveTo>
                      <a:pt x="0" y="0"/>
                    </a:moveTo>
                    <a:lnTo>
                      <a:pt x="25717" y="0"/>
                    </a:lnTo>
                    <a:lnTo>
                      <a:pt x="25717" y="77153"/>
                    </a:lnTo>
                    <a:lnTo>
                      <a:pt x="120967" y="77153"/>
                    </a:lnTo>
                    <a:lnTo>
                      <a:pt x="120967" y="0"/>
                    </a:lnTo>
                    <a:lnTo>
                      <a:pt x="145733" y="0"/>
                    </a:lnTo>
                    <a:lnTo>
                      <a:pt x="145733" y="184785"/>
                    </a:lnTo>
                    <a:lnTo>
                      <a:pt x="120967" y="184785"/>
                    </a:lnTo>
                    <a:lnTo>
                      <a:pt x="120967" y="100013"/>
                    </a:lnTo>
                    <a:lnTo>
                      <a:pt x="25717" y="100013"/>
                    </a:lnTo>
                    <a:lnTo>
                      <a:pt x="25717"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0989D69-58ED-450A-B911-9E91EE6ADA13}"/>
                  </a:ext>
                </a:extLst>
              </p:cNvPr>
              <p:cNvSpPr/>
              <p:nvPr/>
            </p:nvSpPr>
            <p:spPr bwMode="ltGray">
              <a:xfrm>
                <a:off x="11341367" y="6637122"/>
                <a:ext cx="8453" cy="64938"/>
              </a:xfrm>
              <a:custGeom>
                <a:avLst/>
                <a:gdLst>
                  <a:gd name="connsiteX0" fmla="*/ 0 w 24764"/>
                  <a:gd name="connsiteY0" fmla="*/ 0 h 184785"/>
                  <a:gd name="connsiteX1" fmla="*/ 24765 w 24764"/>
                  <a:gd name="connsiteY1" fmla="*/ 0 h 184785"/>
                  <a:gd name="connsiteX2" fmla="*/ 24765 w 24764"/>
                  <a:gd name="connsiteY2" fmla="*/ 184785 h 184785"/>
                  <a:gd name="connsiteX3" fmla="*/ 0 w 24764"/>
                  <a:gd name="connsiteY3" fmla="*/ 184785 h 184785"/>
                </a:gdLst>
                <a:ahLst/>
                <a:cxnLst>
                  <a:cxn ang="0">
                    <a:pos x="connsiteX0" y="connsiteY0"/>
                  </a:cxn>
                  <a:cxn ang="0">
                    <a:pos x="connsiteX1" y="connsiteY1"/>
                  </a:cxn>
                  <a:cxn ang="0">
                    <a:pos x="connsiteX2" y="connsiteY2"/>
                  </a:cxn>
                  <a:cxn ang="0">
                    <a:pos x="connsiteX3" y="connsiteY3"/>
                  </a:cxn>
                </a:cxnLst>
                <a:rect l="l" t="t" r="r" b="b"/>
                <a:pathLst>
                  <a:path w="24764" h="184785">
                    <a:moveTo>
                      <a:pt x="0" y="0"/>
                    </a:moveTo>
                    <a:lnTo>
                      <a:pt x="24765" y="0"/>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915F8500-CBAC-47D4-B324-FD49091E0599}"/>
                  </a:ext>
                </a:extLst>
              </p:cNvPr>
              <p:cNvSpPr/>
              <p:nvPr/>
            </p:nvSpPr>
            <p:spPr bwMode="ltGray">
              <a:xfrm>
                <a:off x="11378433" y="6635448"/>
                <a:ext cx="57550" cy="68285"/>
              </a:xfrm>
              <a:custGeom>
                <a:avLst/>
                <a:gdLst>
                  <a:gd name="connsiteX0" fmla="*/ 168592 w 168592"/>
                  <a:gd name="connsiteY0" fmla="*/ 86678 h 194309"/>
                  <a:gd name="connsiteX1" fmla="*/ 168592 w 168592"/>
                  <a:gd name="connsiteY1" fmla="*/ 177165 h 194309"/>
                  <a:gd name="connsiteX2" fmla="*/ 99060 w 168592"/>
                  <a:gd name="connsiteY2" fmla="*/ 194310 h 194309"/>
                  <a:gd name="connsiteX3" fmla="*/ 0 w 168592"/>
                  <a:gd name="connsiteY3" fmla="*/ 97155 h 194309"/>
                  <a:gd name="connsiteX4" fmla="*/ 96203 w 168592"/>
                  <a:gd name="connsiteY4" fmla="*/ 0 h 194309"/>
                  <a:gd name="connsiteX5" fmla="*/ 164783 w 168592"/>
                  <a:gd name="connsiteY5" fmla="*/ 23813 h 194309"/>
                  <a:gd name="connsiteX6" fmla="*/ 146685 w 168592"/>
                  <a:gd name="connsiteY6" fmla="*/ 42863 h 194309"/>
                  <a:gd name="connsiteX7" fmla="*/ 95250 w 168592"/>
                  <a:gd name="connsiteY7" fmla="*/ 22860 h 194309"/>
                  <a:gd name="connsiteX8" fmla="*/ 25717 w 168592"/>
                  <a:gd name="connsiteY8" fmla="*/ 96203 h 194309"/>
                  <a:gd name="connsiteX9" fmla="*/ 97155 w 168592"/>
                  <a:gd name="connsiteY9" fmla="*/ 169545 h 194309"/>
                  <a:gd name="connsiteX10" fmla="*/ 142875 w 168592"/>
                  <a:gd name="connsiteY10" fmla="*/ 160020 h 194309"/>
                  <a:gd name="connsiteX11" fmla="*/ 142875 w 168592"/>
                  <a:gd name="connsiteY11" fmla="*/ 108585 h 194309"/>
                  <a:gd name="connsiteX12" fmla="*/ 101917 w 168592"/>
                  <a:gd name="connsiteY12" fmla="*/ 108585 h 194309"/>
                  <a:gd name="connsiteX13" fmla="*/ 101917 w 168592"/>
                  <a:gd name="connsiteY13" fmla="*/ 84773 h 194309"/>
                  <a:gd name="connsiteX14" fmla="*/ 168592 w 168592"/>
                  <a:gd name="connsiteY14" fmla="*/ 84773 h 19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592" h="194309">
                    <a:moveTo>
                      <a:pt x="168592" y="86678"/>
                    </a:moveTo>
                    <a:lnTo>
                      <a:pt x="168592" y="177165"/>
                    </a:lnTo>
                    <a:cubicBezTo>
                      <a:pt x="150495" y="187642"/>
                      <a:pt x="120967" y="194310"/>
                      <a:pt x="99060" y="194310"/>
                    </a:cubicBezTo>
                    <a:cubicBezTo>
                      <a:pt x="36195" y="194310"/>
                      <a:pt x="0" y="149542"/>
                      <a:pt x="0" y="97155"/>
                    </a:cubicBezTo>
                    <a:cubicBezTo>
                      <a:pt x="0" y="42863"/>
                      <a:pt x="40005" y="0"/>
                      <a:pt x="96203" y="0"/>
                    </a:cubicBezTo>
                    <a:cubicBezTo>
                      <a:pt x="130492" y="0"/>
                      <a:pt x="150495" y="9525"/>
                      <a:pt x="164783" y="23813"/>
                    </a:cubicBezTo>
                    <a:lnTo>
                      <a:pt x="146685" y="42863"/>
                    </a:lnTo>
                    <a:cubicBezTo>
                      <a:pt x="131445" y="28575"/>
                      <a:pt x="114300" y="22860"/>
                      <a:pt x="95250" y="22860"/>
                    </a:cubicBezTo>
                    <a:cubicBezTo>
                      <a:pt x="53340" y="22860"/>
                      <a:pt x="25717" y="56197"/>
                      <a:pt x="25717" y="96203"/>
                    </a:cubicBezTo>
                    <a:cubicBezTo>
                      <a:pt x="25717" y="138113"/>
                      <a:pt x="57150" y="169545"/>
                      <a:pt x="97155" y="169545"/>
                    </a:cubicBezTo>
                    <a:cubicBezTo>
                      <a:pt x="114300" y="169545"/>
                      <a:pt x="131445" y="165735"/>
                      <a:pt x="142875" y="160020"/>
                    </a:cubicBezTo>
                    <a:lnTo>
                      <a:pt x="142875" y="108585"/>
                    </a:lnTo>
                    <a:lnTo>
                      <a:pt x="101917" y="108585"/>
                    </a:lnTo>
                    <a:lnTo>
                      <a:pt x="101917" y="84773"/>
                    </a:lnTo>
                    <a:lnTo>
                      <a:pt x="168592" y="84773"/>
                    </a:lnTo>
                    <a:close/>
                  </a:path>
                </a:pathLst>
              </a:custGeom>
              <a:solidFill>
                <a:schemeClr val="bg1"/>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7FB7712-5189-4DC7-A0DF-A65008C458EE}"/>
                  </a:ext>
                </a:extLst>
              </p:cNvPr>
              <p:cNvSpPr/>
              <p:nvPr/>
            </p:nvSpPr>
            <p:spPr bwMode="ltGray">
              <a:xfrm>
                <a:off x="11459719" y="6637122"/>
                <a:ext cx="62427" cy="64937"/>
              </a:xfrm>
              <a:custGeom>
                <a:avLst/>
                <a:gdLst>
                  <a:gd name="connsiteX0" fmla="*/ 80963 w 182880"/>
                  <a:gd name="connsiteY0" fmla="*/ 0 h 184784"/>
                  <a:gd name="connsiteX1" fmla="*/ 103822 w 182880"/>
                  <a:gd name="connsiteY1" fmla="*/ 0 h 184784"/>
                  <a:gd name="connsiteX2" fmla="*/ 182880 w 182880"/>
                  <a:gd name="connsiteY2" fmla="*/ 184785 h 184784"/>
                  <a:gd name="connsiteX3" fmla="*/ 153353 w 182880"/>
                  <a:gd name="connsiteY3" fmla="*/ 184785 h 184784"/>
                  <a:gd name="connsiteX4" fmla="*/ 135255 w 182880"/>
                  <a:gd name="connsiteY4" fmla="*/ 139065 h 184784"/>
                  <a:gd name="connsiteX5" fmla="*/ 47625 w 182880"/>
                  <a:gd name="connsiteY5" fmla="*/ 139065 h 184784"/>
                  <a:gd name="connsiteX6" fmla="*/ 29528 w 182880"/>
                  <a:gd name="connsiteY6" fmla="*/ 184785 h 184784"/>
                  <a:gd name="connsiteX7" fmla="*/ 0 w 182880"/>
                  <a:gd name="connsiteY7" fmla="*/ 184785 h 184784"/>
                  <a:gd name="connsiteX8" fmla="*/ 80963 w 182880"/>
                  <a:gd name="connsiteY8" fmla="*/ 0 h 184784"/>
                  <a:gd name="connsiteX9" fmla="*/ 125730 w 182880"/>
                  <a:gd name="connsiteY9" fmla="*/ 117158 h 184784"/>
                  <a:gd name="connsiteX10" fmla="*/ 91440 w 182880"/>
                  <a:gd name="connsiteY10" fmla="*/ 32385 h 184784"/>
                  <a:gd name="connsiteX11" fmla="*/ 90488 w 182880"/>
                  <a:gd name="connsiteY11" fmla="*/ 32385 h 184784"/>
                  <a:gd name="connsiteX12" fmla="*/ 55245 w 182880"/>
                  <a:gd name="connsiteY12" fmla="*/ 117158 h 184784"/>
                  <a:gd name="connsiteX13" fmla="*/ 125730 w 182880"/>
                  <a:gd name="connsiteY13" fmla="*/ 117158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 h="184784">
                    <a:moveTo>
                      <a:pt x="80963" y="0"/>
                    </a:moveTo>
                    <a:lnTo>
                      <a:pt x="103822" y="0"/>
                    </a:lnTo>
                    <a:lnTo>
                      <a:pt x="182880" y="184785"/>
                    </a:lnTo>
                    <a:lnTo>
                      <a:pt x="153353" y="184785"/>
                    </a:lnTo>
                    <a:lnTo>
                      <a:pt x="135255" y="139065"/>
                    </a:lnTo>
                    <a:lnTo>
                      <a:pt x="47625" y="139065"/>
                    </a:lnTo>
                    <a:lnTo>
                      <a:pt x="29528" y="184785"/>
                    </a:lnTo>
                    <a:lnTo>
                      <a:pt x="0" y="184785"/>
                    </a:lnTo>
                    <a:lnTo>
                      <a:pt x="80963" y="0"/>
                    </a:lnTo>
                    <a:close/>
                    <a:moveTo>
                      <a:pt x="125730" y="117158"/>
                    </a:moveTo>
                    <a:lnTo>
                      <a:pt x="91440" y="32385"/>
                    </a:lnTo>
                    <a:lnTo>
                      <a:pt x="90488" y="32385"/>
                    </a:lnTo>
                    <a:lnTo>
                      <a:pt x="55245" y="117158"/>
                    </a:lnTo>
                    <a:lnTo>
                      <a:pt x="125730" y="117158"/>
                    </a:lnTo>
                    <a:close/>
                  </a:path>
                </a:pathLst>
              </a:custGeom>
              <a:solidFill>
                <a:schemeClr val="bg1"/>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AE6735E-225D-4FAF-8F06-8E47561E01CF}"/>
                  </a:ext>
                </a:extLst>
              </p:cNvPr>
              <p:cNvSpPr/>
              <p:nvPr/>
            </p:nvSpPr>
            <p:spPr bwMode="ltGray">
              <a:xfrm>
                <a:off x="11546857" y="6637122"/>
                <a:ext cx="54299" cy="64937"/>
              </a:xfrm>
              <a:custGeom>
                <a:avLst/>
                <a:gdLst>
                  <a:gd name="connsiteX0" fmla="*/ 0 w 159067"/>
                  <a:gd name="connsiteY0" fmla="*/ 0 h 184784"/>
                  <a:gd name="connsiteX1" fmla="*/ 32385 w 159067"/>
                  <a:gd name="connsiteY1" fmla="*/ 0 h 184784"/>
                  <a:gd name="connsiteX2" fmla="*/ 134303 w 159067"/>
                  <a:gd name="connsiteY2" fmla="*/ 152400 h 184784"/>
                  <a:gd name="connsiteX3" fmla="*/ 134303 w 159067"/>
                  <a:gd name="connsiteY3" fmla="*/ 152400 h 184784"/>
                  <a:gd name="connsiteX4" fmla="*/ 134303 w 159067"/>
                  <a:gd name="connsiteY4" fmla="*/ 0 h 184784"/>
                  <a:gd name="connsiteX5" fmla="*/ 159068 w 159067"/>
                  <a:gd name="connsiteY5" fmla="*/ 0 h 184784"/>
                  <a:gd name="connsiteX6" fmla="*/ 159068 w 159067"/>
                  <a:gd name="connsiteY6" fmla="*/ 184785 h 184784"/>
                  <a:gd name="connsiteX7" fmla="*/ 127635 w 159067"/>
                  <a:gd name="connsiteY7" fmla="*/ 184785 h 184784"/>
                  <a:gd name="connsiteX8" fmla="*/ 24765 w 159067"/>
                  <a:gd name="connsiteY8" fmla="*/ 33338 h 184784"/>
                  <a:gd name="connsiteX9" fmla="*/ 24765 w 159067"/>
                  <a:gd name="connsiteY9" fmla="*/ 33338 h 184784"/>
                  <a:gd name="connsiteX10" fmla="*/ 24765 w 159067"/>
                  <a:gd name="connsiteY10" fmla="*/ 184785 h 184784"/>
                  <a:gd name="connsiteX11" fmla="*/ 0 w 159067"/>
                  <a:gd name="connsiteY11"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067" h="184784">
                    <a:moveTo>
                      <a:pt x="0" y="0"/>
                    </a:moveTo>
                    <a:lnTo>
                      <a:pt x="32385" y="0"/>
                    </a:lnTo>
                    <a:lnTo>
                      <a:pt x="134303" y="152400"/>
                    </a:lnTo>
                    <a:lnTo>
                      <a:pt x="134303" y="152400"/>
                    </a:lnTo>
                    <a:lnTo>
                      <a:pt x="134303" y="0"/>
                    </a:lnTo>
                    <a:lnTo>
                      <a:pt x="159068" y="0"/>
                    </a:lnTo>
                    <a:lnTo>
                      <a:pt x="159068" y="184785"/>
                    </a:lnTo>
                    <a:lnTo>
                      <a:pt x="127635" y="184785"/>
                    </a:lnTo>
                    <a:lnTo>
                      <a:pt x="24765" y="33338"/>
                    </a:lnTo>
                    <a:lnTo>
                      <a:pt x="24765" y="33338"/>
                    </a:lnTo>
                    <a:lnTo>
                      <a:pt x="24765" y="184785"/>
                    </a:lnTo>
                    <a:lnTo>
                      <a:pt x="0" y="184785"/>
                    </a:lnTo>
                    <a:close/>
                  </a:path>
                </a:pathLst>
              </a:custGeom>
              <a:solidFill>
                <a:schemeClr val="bg1"/>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5B41FAE7-A9CD-4D5D-9B9A-946CBF94BF9B}"/>
                  </a:ext>
                </a:extLst>
              </p:cNvPr>
              <p:cNvSpPr/>
              <p:nvPr/>
            </p:nvSpPr>
            <p:spPr bwMode="ltGray">
              <a:xfrm>
                <a:off x="11610910" y="6636452"/>
                <a:ext cx="19509" cy="20084"/>
              </a:xfrm>
              <a:custGeom>
                <a:avLst/>
                <a:gdLst>
                  <a:gd name="connsiteX0" fmla="*/ 28575 w 57150"/>
                  <a:gd name="connsiteY0" fmla="*/ 0 h 57150"/>
                  <a:gd name="connsiteX1" fmla="*/ 57150 w 57150"/>
                  <a:gd name="connsiteY1" fmla="*/ 28575 h 57150"/>
                  <a:gd name="connsiteX2" fmla="*/ 28575 w 57150"/>
                  <a:gd name="connsiteY2" fmla="*/ 57150 h 57150"/>
                  <a:gd name="connsiteX3" fmla="*/ 0 w 57150"/>
                  <a:gd name="connsiteY3" fmla="*/ 28575 h 57150"/>
                  <a:gd name="connsiteX4" fmla="*/ 28575 w 57150"/>
                  <a:gd name="connsiteY4" fmla="*/ 0 h 57150"/>
                  <a:gd name="connsiteX5" fmla="*/ 28575 w 57150"/>
                  <a:gd name="connsiteY5" fmla="*/ 52388 h 57150"/>
                  <a:gd name="connsiteX6" fmla="*/ 52388 w 57150"/>
                  <a:gd name="connsiteY6" fmla="*/ 28575 h 57150"/>
                  <a:gd name="connsiteX7" fmla="*/ 28575 w 57150"/>
                  <a:gd name="connsiteY7" fmla="*/ 4763 h 57150"/>
                  <a:gd name="connsiteX8" fmla="*/ 5715 w 57150"/>
                  <a:gd name="connsiteY8" fmla="*/ 28575 h 57150"/>
                  <a:gd name="connsiteX9" fmla="*/ 28575 w 57150"/>
                  <a:gd name="connsiteY9" fmla="*/ 52388 h 57150"/>
                  <a:gd name="connsiteX10" fmla="*/ 17145 w 57150"/>
                  <a:gd name="connsiteY10" fmla="*/ 12382 h 57150"/>
                  <a:gd name="connsiteX11" fmla="*/ 29528 w 57150"/>
                  <a:gd name="connsiteY11" fmla="*/ 12382 h 57150"/>
                  <a:gd name="connsiteX12" fmla="*/ 40957 w 57150"/>
                  <a:gd name="connsiteY12" fmla="*/ 21907 h 57150"/>
                  <a:gd name="connsiteX13" fmla="*/ 32385 w 57150"/>
                  <a:gd name="connsiteY13" fmla="*/ 31432 h 57150"/>
                  <a:gd name="connsiteX14" fmla="*/ 41910 w 57150"/>
                  <a:gd name="connsiteY14" fmla="*/ 45720 h 57150"/>
                  <a:gd name="connsiteX15" fmla="*/ 36195 w 57150"/>
                  <a:gd name="connsiteY15" fmla="*/ 45720 h 57150"/>
                  <a:gd name="connsiteX16" fmla="*/ 27622 w 57150"/>
                  <a:gd name="connsiteY16" fmla="*/ 31432 h 57150"/>
                  <a:gd name="connsiteX17" fmla="*/ 21907 w 57150"/>
                  <a:gd name="connsiteY17" fmla="*/ 31432 h 57150"/>
                  <a:gd name="connsiteX18" fmla="*/ 21907 w 57150"/>
                  <a:gd name="connsiteY18" fmla="*/ 45720 h 57150"/>
                  <a:gd name="connsiteX19" fmla="*/ 17145 w 57150"/>
                  <a:gd name="connsiteY19" fmla="*/ 45720 h 57150"/>
                  <a:gd name="connsiteX20" fmla="*/ 17145 w 57150"/>
                  <a:gd name="connsiteY20" fmla="*/ 12382 h 57150"/>
                  <a:gd name="connsiteX21" fmla="*/ 22860 w 57150"/>
                  <a:gd name="connsiteY21" fmla="*/ 26670 h 57150"/>
                  <a:gd name="connsiteX22" fmla="*/ 27622 w 57150"/>
                  <a:gd name="connsiteY22" fmla="*/ 26670 h 57150"/>
                  <a:gd name="connsiteX23" fmla="*/ 36195 w 57150"/>
                  <a:gd name="connsiteY23" fmla="*/ 20955 h 57150"/>
                  <a:gd name="connsiteX24" fmla="*/ 28575 w 57150"/>
                  <a:gd name="connsiteY24" fmla="*/ 16192 h 57150"/>
                  <a:gd name="connsiteX25" fmla="*/ 21907 w 57150"/>
                  <a:gd name="connsiteY25" fmla="*/ 16192 h 57150"/>
                  <a:gd name="connsiteX26" fmla="*/ 21907 w 57150"/>
                  <a:gd name="connsiteY26" fmla="*/ 2667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150" h="57150">
                    <a:moveTo>
                      <a:pt x="28575" y="0"/>
                    </a:moveTo>
                    <a:cubicBezTo>
                      <a:pt x="43815" y="0"/>
                      <a:pt x="57150" y="12382"/>
                      <a:pt x="57150" y="28575"/>
                    </a:cubicBezTo>
                    <a:cubicBezTo>
                      <a:pt x="57150" y="44767"/>
                      <a:pt x="43815" y="57150"/>
                      <a:pt x="28575" y="57150"/>
                    </a:cubicBezTo>
                    <a:cubicBezTo>
                      <a:pt x="13335" y="57150"/>
                      <a:pt x="0" y="44767"/>
                      <a:pt x="0" y="28575"/>
                    </a:cubicBezTo>
                    <a:cubicBezTo>
                      <a:pt x="0" y="12382"/>
                      <a:pt x="13335" y="0"/>
                      <a:pt x="28575" y="0"/>
                    </a:cubicBezTo>
                    <a:moveTo>
                      <a:pt x="28575" y="52388"/>
                    </a:moveTo>
                    <a:cubicBezTo>
                      <a:pt x="41910" y="52388"/>
                      <a:pt x="52388" y="41910"/>
                      <a:pt x="52388" y="28575"/>
                    </a:cubicBezTo>
                    <a:cubicBezTo>
                      <a:pt x="52388" y="15240"/>
                      <a:pt x="41910" y="4763"/>
                      <a:pt x="28575" y="4763"/>
                    </a:cubicBezTo>
                    <a:cubicBezTo>
                      <a:pt x="15240" y="4763"/>
                      <a:pt x="5715" y="15240"/>
                      <a:pt x="5715" y="28575"/>
                    </a:cubicBezTo>
                    <a:cubicBezTo>
                      <a:pt x="4763" y="41910"/>
                      <a:pt x="15240" y="52388"/>
                      <a:pt x="28575" y="52388"/>
                    </a:cubicBezTo>
                    <a:moveTo>
                      <a:pt x="17145" y="12382"/>
                    </a:moveTo>
                    <a:lnTo>
                      <a:pt x="29528" y="12382"/>
                    </a:lnTo>
                    <a:cubicBezTo>
                      <a:pt x="37147" y="12382"/>
                      <a:pt x="40957" y="15240"/>
                      <a:pt x="40957" y="21907"/>
                    </a:cubicBezTo>
                    <a:cubicBezTo>
                      <a:pt x="40957" y="27622"/>
                      <a:pt x="37147" y="30480"/>
                      <a:pt x="32385" y="31432"/>
                    </a:cubicBezTo>
                    <a:lnTo>
                      <a:pt x="41910" y="45720"/>
                    </a:lnTo>
                    <a:lnTo>
                      <a:pt x="36195" y="45720"/>
                    </a:lnTo>
                    <a:lnTo>
                      <a:pt x="27622" y="31432"/>
                    </a:lnTo>
                    <a:lnTo>
                      <a:pt x="21907" y="31432"/>
                    </a:lnTo>
                    <a:lnTo>
                      <a:pt x="21907" y="45720"/>
                    </a:lnTo>
                    <a:lnTo>
                      <a:pt x="17145" y="45720"/>
                    </a:lnTo>
                    <a:lnTo>
                      <a:pt x="17145" y="12382"/>
                    </a:lnTo>
                    <a:close/>
                    <a:moveTo>
                      <a:pt x="22860" y="26670"/>
                    </a:moveTo>
                    <a:lnTo>
                      <a:pt x="27622" y="26670"/>
                    </a:lnTo>
                    <a:cubicBezTo>
                      <a:pt x="32385" y="26670"/>
                      <a:pt x="36195" y="26670"/>
                      <a:pt x="36195" y="20955"/>
                    </a:cubicBezTo>
                    <a:cubicBezTo>
                      <a:pt x="36195" y="16192"/>
                      <a:pt x="32385" y="16192"/>
                      <a:pt x="28575" y="16192"/>
                    </a:cubicBezTo>
                    <a:lnTo>
                      <a:pt x="21907" y="16192"/>
                    </a:lnTo>
                    <a:lnTo>
                      <a:pt x="21907" y="26670"/>
                    </a:lnTo>
                    <a:close/>
                  </a:path>
                </a:pathLst>
              </a:custGeom>
              <a:solidFill>
                <a:schemeClr val="bg1"/>
              </a:solidFill>
              <a:ln w="9525" cap="flat">
                <a:noFill/>
                <a:prstDash val="solid"/>
                <a:miter/>
              </a:ln>
            </p:spPr>
            <p:txBody>
              <a:bodyPr rtlCol="0" anchor="ctr"/>
              <a:lstStyle/>
              <a:p>
                <a:endParaRPr lang="en-US" dirty="0"/>
              </a:p>
            </p:txBody>
          </p:sp>
        </p:grpSp>
        <p:pic>
          <p:nvPicPr>
            <p:cNvPr id="163" name="Picture 162" descr="Michigan among top 10 pro-business states, named most improved state in  CNBC rankings | Economic development, Pure michigan, Michigan">
              <a:extLst>
                <a:ext uri="{FF2B5EF4-FFF2-40B4-BE49-F238E27FC236}">
                  <a16:creationId xmlns:a16="http://schemas.microsoft.com/office/drawing/2014/main" id="{7EA70B32-D246-4E8C-AFB8-C35153A8F3E4}"/>
                </a:ext>
              </a:extLst>
            </p:cNvPr>
            <p:cNvPicPr>
              <a:picLocks noChangeAspect="1" noChangeArrowheads="1"/>
            </p:cNvPicPr>
            <p:nvPr userDrawn="1"/>
          </p:nvPicPr>
          <p:blipFill rotWithShape="1">
            <a:blip r:embed="rId46">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9596444" y="6680068"/>
              <a:ext cx="957305" cy="67347"/>
            </a:xfrm>
            <a:custGeom>
              <a:avLst/>
              <a:gdLst>
                <a:gd name="connsiteX0" fmla="*/ 0 w 2739109"/>
                <a:gd name="connsiteY0" fmla="*/ 0 h 188020"/>
                <a:gd name="connsiteX1" fmla="*/ 2739109 w 2739109"/>
                <a:gd name="connsiteY1" fmla="*/ 0 h 188020"/>
                <a:gd name="connsiteX2" fmla="*/ 2739109 w 2739109"/>
                <a:gd name="connsiteY2" fmla="*/ 188020 h 188020"/>
                <a:gd name="connsiteX3" fmla="*/ 0 w 2739109"/>
                <a:gd name="connsiteY3" fmla="*/ 188020 h 188020"/>
                <a:gd name="connsiteX4" fmla="*/ 0 w 2739109"/>
                <a:gd name="connsiteY4" fmla="*/ 0 h 188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109" h="188020">
                  <a:moveTo>
                    <a:pt x="0" y="0"/>
                  </a:moveTo>
                  <a:lnTo>
                    <a:pt x="2739109" y="0"/>
                  </a:lnTo>
                  <a:lnTo>
                    <a:pt x="2739109" y="188020"/>
                  </a:lnTo>
                  <a:lnTo>
                    <a:pt x="0" y="188020"/>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85" name="Picture 184" descr="Michigan among top 10 pro-business states, named most improved state in  CNBC rankings | Economic development, Pure michigan, Michigan">
              <a:extLst>
                <a:ext uri="{FF2B5EF4-FFF2-40B4-BE49-F238E27FC236}">
                  <a16:creationId xmlns:a16="http://schemas.microsoft.com/office/drawing/2014/main" id="{4C06DC77-C9A3-4A77-AF13-A298834714C1}"/>
                </a:ext>
              </a:extLst>
            </p:cNvPr>
            <p:cNvPicPr>
              <a:picLocks noChangeAspect="1" noChangeArrowheads="1"/>
            </p:cNvPicPr>
            <p:nvPr userDrawn="1"/>
          </p:nvPicPr>
          <p:blipFill rotWithShape="1">
            <a:blip r:embed="rId48">
              <a:extLst>
                <a:ext uri="{28A0092B-C50C-407E-A947-70E740481C1C}">
                  <a14:useLocalDpi xmlns:a14="http://schemas.microsoft.com/office/drawing/2010/main" val="0"/>
                </a:ext>
              </a:extLst>
            </a:blip>
            <a:srcRect/>
            <a:stretch/>
          </p:blipFill>
          <p:spPr bwMode="ltGray">
            <a:xfrm>
              <a:off x="9596444" y="6528816"/>
              <a:ext cx="978690" cy="151252"/>
            </a:xfrm>
            <a:custGeom>
              <a:avLst/>
              <a:gdLst>
                <a:gd name="connsiteX0" fmla="*/ 0 w 953195"/>
                <a:gd name="connsiteY0" fmla="*/ 0 h 118396"/>
                <a:gd name="connsiteX1" fmla="*/ 953195 w 953195"/>
                <a:gd name="connsiteY1" fmla="*/ 0 h 118396"/>
                <a:gd name="connsiteX2" fmla="*/ 953195 w 953195"/>
                <a:gd name="connsiteY2" fmla="*/ 118396 h 118396"/>
                <a:gd name="connsiteX3" fmla="*/ 0 w 953195"/>
                <a:gd name="connsiteY3" fmla="*/ 118396 h 118396"/>
                <a:gd name="connsiteX4" fmla="*/ 0 w 953195"/>
                <a:gd name="connsiteY4" fmla="*/ 0 h 11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195" h="118396">
                  <a:moveTo>
                    <a:pt x="0" y="0"/>
                  </a:moveTo>
                  <a:lnTo>
                    <a:pt x="953195" y="0"/>
                  </a:lnTo>
                  <a:lnTo>
                    <a:pt x="953195" y="118396"/>
                  </a:lnTo>
                  <a:lnTo>
                    <a:pt x="0" y="11839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2" name="Picture 191" descr="Michigan among top 10 pro-business states, named most improved state in  CNBC rankings | Economic development, Pure michigan, Michigan">
              <a:extLst>
                <a:ext uri="{FF2B5EF4-FFF2-40B4-BE49-F238E27FC236}">
                  <a16:creationId xmlns:a16="http://schemas.microsoft.com/office/drawing/2014/main" id="{EC8B3AB4-2EB8-4CDF-9065-EBBC7BEBD7DE}"/>
                </a:ext>
              </a:extLst>
            </p:cNvPr>
            <p:cNvPicPr>
              <a:picLocks noChangeAspect="1" noChangeArrowheads="1"/>
            </p:cNvPicPr>
            <p:nvPr userDrawn="1"/>
          </p:nvPicPr>
          <p:blipFill rotWithShape="1">
            <a:blip r:embed="rId49">
              <a:extLst>
                <a:ext uri="{BEBA8EAE-BF5A-486C-A8C5-ECC9F3942E4B}">
                  <a14:imgProps xmlns:a14="http://schemas.microsoft.com/office/drawing/2010/main">
                    <a14:imgLayer r:embed="rId50">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75133" y="6560134"/>
              <a:ext cx="71654" cy="217208"/>
            </a:xfrm>
            <a:custGeom>
              <a:avLst/>
              <a:gdLst>
                <a:gd name="connsiteX0" fmla="*/ 0 w 71654"/>
                <a:gd name="connsiteY0" fmla="*/ 0 h 217208"/>
                <a:gd name="connsiteX1" fmla="*/ 71654 w 71654"/>
                <a:gd name="connsiteY1" fmla="*/ 0 h 217208"/>
                <a:gd name="connsiteX2" fmla="*/ 71654 w 71654"/>
                <a:gd name="connsiteY2" fmla="*/ 217208 h 217208"/>
                <a:gd name="connsiteX3" fmla="*/ 0 w 71654"/>
                <a:gd name="connsiteY3" fmla="*/ 217208 h 217208"/>
                <a:gd name="connsiteX4" fmla="*/ 0 w 71654"/>
                <a:gd name="connsiteY4" fmla="*/ 0 h 217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4" h="217208">
                  <a:moveTo>
                    <a:pt x="0" y="0"/>
                  </a:moveTo>
                  <a:lnTo>
                    <a:pt x="71654" y="0"/>
                  </a:lnTo>
                  <a:lnTo>
                    <a:pt x="71654" y="217208"/>
                  </a:lnTo>
                  <a:lnTo>
                    <a:pt x="0" y="217208"/>
                  </a:lnTo>
                  <a:lnTo>
                    <a:pt x="0" y="0"/>
                  </a:lnTo>
                  <a:close/>
                </a:path>
              </a:pathLst>
            </a:cu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645182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11.xml"/><Relationship Id="rId1" Type="http://schemas.openxmlformats.org/officeDocument/2006/relationships/slideLayout" Target="../slideLayouts/slideLayout118.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s>
</file>

<file path=ppt/slides/_rels/slide12.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2.xml"/><Relationship Id="rId1" Type="http://schemas.openxmlformats.org/officeDocument/2006/relationships/slideLayout" Target="../slideLayouts/slideLayout118.xml"/><Relationship Id="rId6" Type="http://schemas.openxmlformats.org/officeDocument/2006/relationships/image" Target="../media/image79.sv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5.xml"/></Relationships>
</file>

<file path=ppt/slides/_rels/slide14.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84.JPG"/><Relationship Id="rId7"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87.JPG"/><Relationship Id="rId5" Type="http://schemas.openxmlformats.org/officeDocument/2006/relationships/image" Target="../media/image86.JPG"/><Relationship Id="rId4" Type="http://schemas.openxmlformats.org/officeDocument/2006/relationships/image" Target="../media/image85.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8.xml"/></Relationships>
</file>

<file path=ppt/slides/_rels/slide1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image" Target="../media/image38.emf"/><Relationship Id="rId11" Type="http://schemas.openxmlformats.org/officeDocument/2006/relationships/image" Target="../media/image43.png"/><Relationship Id="rId5" Type="http://schemas.openxmlformats.org/officeDocument/2006/relationships/image" Target="../media/image37.emf"/><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tags" Target="../tags/tag860.xml"/><Relationship Id="rId16" Type="http://schemas.openxmlformats.org/officeDocument/2006/relationships/image" Target="../media/image52.svg"/><Relationship Id="rId1" Type="http://schemas.openxmlformats.org/officeDocument/2006/relationships/tags" Target="../tags/tag859.xml"/><Relationship Id="rId6" Type="http://schemas.openxmlformats.org/officeDocument/2006/relationships/tags" Target="../tags/tag864.xml"/><Relationship Id="rId11" Type="http://schemas.openxmlformats.org/officeDocument/2006/relationships/image" Target="../media/image7.emf"/><Relationship Id="rId5" Type="http://schemas.openxmlformats.org/officeDocument/2006/relationships/tags" Target="../tags/tag863.xml"/><Relationship Id="rId15" Type="http://schemas.openxmlformats.org/officeDocument/2006/relationships/image" Target="../media/image51.png"/><Relationship Id="rId10" Type="http://schemas.openxmlformats.org/officeDocument/2006/relationships/oleObject" Target="../embeddings/oleObject125.bin"/><Relationship Id="rId4" Type="http://schemas.openxmlformats.org/officeDocument/2006/relationships/tags" Target="../tags/tag862.xml"/><Relationship Id="rId9" Type="http://schemas.openxmlformats.org/officeDocument/2006/relationships/notesSlide" Target="../notesSlides/notesSlide4.xml"/><Relationship Id="rId14" Type="http://schemas.openxmlformats.org/officeDocument/2006/relationships/image" Target="../media/image5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jpg"/><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21.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emf"/><Relationship Id="rId9"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3EB88-E0F1-FA40-AAA4-8B6C17B2FFD3}"/>
              </a:ext>
            </a:extLst>
          </p:cNvPr>
          <p:cNvSpPr>
            <a:spLocks noGrp="1"/>
          </p:cNvSpPr>
          <p:nvPr>
            <p:ph type="ctrTitle"/>
          </p:nvPr>
        </p:nvSpPr>
        <p:spPr>
          <a:xfrm>
            <a:off x="416560" y="2330558"/>
            <a:ext cx="11369040" cy="1159982"/>
          </a:xfrm>
        </p:spPr>
        <p:txBody>
          <a:bodyPr/>
          <a:lstStyle/>
          <a:p>
            <a:r>
              <a:rPr lang="en-US" dirty="0"/>
              <a:t>BUILDING A CHAMPIONSHIP ECONOMY: A QUEST FOR GREATNESS</a:t>
            </a:r>
          </a:p>
        </p:txBody>
      </p:sp>
      <p:sp>
        <p:nvSpPr>
          <p:cNvPr id="3" name="Subtitle 2">
            <a:extLst>
              <a:ext uri="{FF2B5EF4-FFF2-40B4-BE49-F238E27FC236}">
                <a16:creationId xmlns:a16="http://schemas.microsoft.com/office/drawing/2014/main" id="{E648CCC7-B426-464A-9CEF-7A8ADA37E9E3}"/>
              </a:ext>
            </a:extLst>
          </p:cNvPr>
          <p:cNvSpPr>
            <a:spLocks noGrp="1"/>
          </p:cNvSpPr>
          <p:nvPr>
            <p:ph type="subTitle" idx="1"/>
          </p:nvPr>
        </p:nvSpPr>
        <p:spPr>
          <a:xfrm>
            <a:off x="1524000" y="4105826"/>
            <a:ext cx="9144000" cy="710507"/>
          </a:xfrm>
        </p:spPr>
        <p:txBody>
          <a:bodyPr>
            <a:normAutofit fontScale="92500" lnSpcReduction="20000"/>
          </a:bodyPr>
          <a:lstStyle/>
          <a:p>
            <a:r>
              <a:rPr lang="en-US" dirty="0"/>
              <a:t> Quentin L. Messer, Jr.</a:t>
            </a:r>
          </a:p>
          <a:p>
            <a:r>
              <a:rPr lang="en-US" dirty="0"/>
              <a:t>February 8, 2023</a:t>
            </a:r>
          </a:p>
        </p:txBody>
      </p:sp>
      <p:sp>
        <p:nvSpPr>
          <p:cNvPr id="4" name="TextBox 3">
            <a:extLst>
              <a:ext uri="{FF2B5EF4-FFF2-40B4-BE49-F238E27FC236}">
                <a16:creationId xmlns:a16="http://schemas.microsoft.com/office/drawing/2014/main" id="{949862E4-4AE6-45B8-9C59-250A9F4859AF}"/>
              </a:ext>
            </a:extLst>
          </p:cNvPr>
          <p:cNvSpPr txBox="1"/>
          <p:nvPr/>
        </p:nvSpPr>
        <p:spPr>
          <a:xfrm>
            <a:off x="4475747" y="3667365"/>
            <a:ext cx="3356811" cy="369332"/>
          </a:xfrm>
          <a:prstGeom prst="rect">
            <a:avLst/>
          </a:prstGeom>
          <a:solidFill>
            <a:srgbClr val="002576"/>
          </a:solidFill>
        </p:spPr>
        <p:txBody>
          <a:bodyPr wrap="square" rtlCol="0">
            <a:spAutoFit/>
          </a:bodyPr>
          <a:lstStyle/>
          <a:p>
            <a:endParaRPr lang="en-US" dirty="0"/>
          </a:p>
        </p:txBody>
      </p:sp>
      <p:cxnSp>
        <p:nvCxnSpPr>
          <p:cNvPr id="6" name="Straight Connector 5">
            <a:extLst>
              <a:ext uri="{FF2B5EF4-FFF2-40B4-BE49-F238E27FC236}">
                <a16:creationId xmlns:a16="http://schemas.microsoft.com/office/drawing/2014/main" id="{0794AD44-6AC1-4988-A53B-5A8E739C98F3}"/>
              </a:ext>
            </a:extLst>
          </p:cNvPr>
          <p:cNvCxnSpPr/>
          <p:nvPr/>
        </p:nvCxnSpPr>
        <p:spPr>
          <a:xfrm>
            <a:off x="4519863" y="3763618"/>
            <a:ext cx="3152274"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249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37A03A-3666-4C47-B293-09E3F65AEBF9}"/>
              </a:ext>
            </a:extLst>
          </p:cNvPr>
          <p:cNvSpPr/>
          <p:nvPr/>
        </p:nvSpPr>
        <p:spPr>
          <a:xfrm>
            <a:off x="4981902" y="-1"/>
            <a:ext cx="7210075" cy="682484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76DA6218-268B-E64D-AE13-9F2AD6BEB299}"/>
              </a:ext>
            </a:extLst>
          </p:cNvPr>
          <p:cNvSpPr txBox="1">
            <a:spLocks/>
          </p:cNvSpPr>
          <p:nvPr/>
        </p:nvSpPr>
        <p:spPr bwMode="gray">
          <a:xfrm>
            <a:off x="22" y="0"/>
            <a:ext cx="6206468" cy="6857999"/>
          </a:xfrm>
          <a:prstGeom prst="rect">
            <a:avLst/>
          </a:prstGeom>
          <a:solidFill>
            <a:srgbClr val="002576"/>
          </a:solidFill>
          <a:ln>
            <a:noFill/>
          </a:ln>
          <a:effectLst/>
        </p:spPr>
        <p:txBody>
          <a:bodyPr vert="horz" wrap="square" lIns="914400" tIns="45720" rIns="91440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1218026" rtl="0" eaLnBrk="1" fontAlgn="base" latinLnBrk="0" hangingPunct="1">
              <a:lnSpc>
                <a:spcPct val="100000"/>
              </a:lnSpc>
              <a:spcBef>
                <a:spcPct val="0"/>
              </a:spcBef>
              <a:spcAft>
                <a:spcPct val="0"/>
              </a:spcAft>
              <a:buClrTx/>
              <a:buSzTx/>
              <a:buFontTx/>
              <a:buNone/>
              <a:tabLst>
                <a:tab pos="367135" algn="l"/>
              </a:tabLst>
              <a:defRPr/>
            </a:pPr>
            <a:r>
              <a:rPr lang="en-US" sz="3400" dirty="0">
                <a:solidFill>
                  <a:prstClr val="white"/>
                </a:solidFill>
              </a:rPr>
              <a:t>WINNING IN OUR OWN BACKYARD: OFFICE OF HIGH-SPEED INTERNET</a:t>
            </a:r>
            <a:endParaRPr kumimoji="0" lang="en-US" sz="3400" b="1" i="0" u="none" strike="noStrike" kern="1200" cap="none" spc="0" normalizeH="0" baseline="0" noProof="0" dirty="0">
              <a:ln>
                <a:noFill/>
              </a:ln>
              <a:solidFill>
                <a:prstClr val="white"/>
              </a:solidFill>
              <a:effectLst/>
              <a:uLnTx/>
              <a:uFillTx/>
              <a:latin typeface="Arial Black" panose="020B0604020202020204" pitchFamily="34" charset="0"/>
              <a:ea typeface="+mj-ea"/>
            </a:endParaRPr>
          </a:p>
        </p:txBody>
      </p:sp>
      <p:sp>
        <p:nvSpPr>
          <p:cNvPr id="19" name="Content Placeholder 2">
            <a:extLst>
              <a:ext uri="{FF2B5EF4-FFF2-40B4-BE49-F238E27FC236}">
                <a16:creationId xmlns:a16="http://schemas.microsoft.com/office/drawing/2014/main" id="{EFFA663D-EF98-429B-A159-8492F9B3B660}"/>
              </a:ext>
            </a:extLst>
          </p:cNvPr>
          <p:cNvSpPr txBox="1">
            <a:spLocks/>
          </p:cNvSpPr>
          <p:nvPr/>
        </p:nvSpPr>
        <p:spPr>
          <a:xfrm>
            <a:off x="6448097" y="3113648"/>
            <a:ext cx="5743881" cy="1785104"/>
          </a:xfrm>
          <a:prstGeom prst="rect">
            <a:avLst/>
          </a:prstGeom>
        </p:spPr>
        <p:txBody>
          <a:bodyPr wrap="square">
            <a:spAutoFit/>
          </a:bodyPr>
          <a:lst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kumimoji="0" lang="en-US" sz="2000" b="1" i="0" u="none" strike="noStrike" kern="0" cap="none" spc="0" normalizeH="0" baseline="0" noProof="0" dirty="0">
                <a:ln>
                  <a:noFill/>
                </a:ln>
                <a:solidFill>
                  <a:srgbClr val="002576"/>
                </a:solidFill>
                <a:effectLst/>
                <a:uLnTx/>
                <a:uFillTx/>
                <a:latin typeface="Arial" panose="020B0604020202020204" pitchFamily="34" charset="0"/>
                <a:cs typeface="Arial" panose="020B0604020202020204" pitchFamily="34" charset="0"/>
              </a:rPr>
              <a:t>Connecting Michigan </a:t>
            </a:r>
            <a:r>
              <a:rPr lang="en-US" sz="2000" b="1" kern="0" dirty="0">
                <a:solidFill>
                  <a:srgbClr val="002576"/>
                </a:solidFill>
                <a:latin typeface="Arial" panose="020B0604020202020204" pitchFamily="34" charset="0"/>
                <a:cs typeface="Arial" panose="020B0604020202020204" pitchFamily="34" charset="0"/>
              </a:rPr>
              <a:t>Taskforce</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lang="en-US" sz="2000" b="1" kern="0" dirty="0">
                <a:solidFill>
                  <a:srgbClr val="002576"/>
                </a:solidFill>
                <a:latin typeface="Arial" panose="020B0604020202020204" pitchFamily="34" charset="0"/>
                <a:cs typeface="Arial" panose="020B0604020202020204" pitchFamily="34" charset="0"/>
              </a:rPr>
              <a:t>Broadband Expansion Act</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lang="en-US" sz="2000" b="1" kern="0" dirty="0">
                <a:solidFill>
                  <a:srgbClr val="002576"/>
                </a:solidFill>
                <a:latin typeface="Arial" panose="020B0604020202020204" pitchFamily="34" charset="0"/>
                <a:cs typeface="Arial" panose="020B0604020202020204" pitchFamily="34" charset="0"/>
              </a:rPr>
              <a:t>Connecting Michigan Communities Grant Program</a:t>
            </a:r>
          </a:p>
        </p:txBody>
      </p:sp>
      <p:sp>
        <p:nvSpPr>
          <p:cNvPr id="8" name="Content Placeholder 2">
            <a:extLst>
              <a:ext uri="{FF2B5EF4-FFF2-40B4-BE49-F238E27FC236}">
                <a16:creationId xmlns:a16="http://schemas.microsoft.com/office/drawing/2014/main" id="{B4CCF6DA-92FE-76F1-DA6E-E5736784626D}"/>
              </a:ext>
            </a:extLst>
          </p:cNvPr>
          <p:cNvSpPr txBox="1">
            <a:spLocks/>
          </p:cNvSpPr>
          <p:nvPr/>
        </p:nvSpPr>
        <p:spPr>
          <a:xfrm>
            <a:off x="6448096" y="1603058"/>
            <a:ext cx="5743881" cy="707886"/>
          </a:xfrm>
          <a:prstGeom prst="rect">
            <a:avLst/>
          </a:prstGeom>
        </p:spPr>
        <p:txBody>
          <a:bodyPr wrap="square">
            <a:spAutoFit/>
          </a:bodyPr>
          <a:lst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R="0" lvl="0" algn="l" defTabSz="1218026" rtl="0" eaLnBrk="1" fontAlgn="base" latinLnBrk="0" hangingPunct="1">
              <a:lnSpc>
                <a:spcPct val="100000"/>
              </a:lnSpc>
              <a:spcBef>
                <a:spcPts val="600"/>
              </a:spcBef>
              <a:spcAft>
                <a:spcPts val="1200"/>
              </a:spcAft>
              <a:buClr>
                <a:srgbClr val="44546A"/>
              </a:buClr>
              <a:buSzPct val="100000"/>
              <a:tabLst/>
              <a:defRPr/>
            </a:pPr>
            <a:r>
              <a:rPr lang="en-US" sz="2000" b="1" kern="0" dirty="0">
                <a:solidFill>
                  <a:srgbClr val="002576"/>
                </a:solidFill>
                <a:latin typeface="Arial Black" panose="020B0604020202020204" pitchFamily="34" charset="0"/>
                <a:cs typeface="Arial" panose="020B0604020202020204" pitchFamily="34" charset="0"/>
              </a:rPr>
              <a:t>RELIABLE HIGH-SPEED INTERNET IS IMPREATIVE ON BOTH PENINSULAS. </a:t>
            </a:r>
            <a:endParaRPr kumimoji="0" lang="en-US" sz="2000" b="1" i="0" u="none" strike="noStrike" kern="0" cap="none" spc="0" normalizeH="0" baseline="0" noProof="0" dirty="0">
              <a:ln>
                <a:noFill/>
              </a:ln>
              <a:solidFill>
                <a:srgbClr val="002576"/>
              </a:solidFill>
              <a:effectLst/>
              <a:uLnTx/>
              <a:uFillTx/>
              <a:latin typeface="Arial" panose="020B0604020202020204" pitchFamily="34" charset="0"/>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2F7B3DBF-F7D1-A651-277B-CC99C3D0BA20}"/>
              </a:ext>
            </a:extLst>
          </p:cNvPr>
          <p:cNvCxnSpPr>
            <a:cxnSpLocks/>
          </p:cNvCxnSpPr>
          <p:nvPr/>
        </p:nvCxnSpPr>
        <p:spPr>
          <a:xfrm>
            <a:off x="6604606" y="2694739"/>
            <a:ext cx="167001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373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Oval 43">
            <a:extLst>
              <a:ext uri="{FF2B5EF4-FFF2-40B4-BE49-F238E27FC236}">
                <a16:creationId xmlns:a16="http://schemas.microsoft.com/office/drawing/2014/main" id="{88088152-7AFC-FF21-1F05-67AA11D1E7D3}"/>
              </a:ext>
            </a:extLst>
          </p:cNvPr>
          <p:cNvSpPr/>
          <p:nvPr/>
        </p:nvSpPr>
        <p:spPr>
          <a:xfrm>
            <a:off x="535093" y="5112361"/>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009F9A48-BBC6-8D9E-BCB3-5ED4E8669188}"/>
              </a:ext>
            </a:extLst>
          </p:cNvPr>
          <p:cNvSpPr/>
          <p:nvPr/>
        </p:nvSpPr>
        <p:spPr>
          <a:xfrm>
            <a:off x="597631" y="3563474"/>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B10423CC-DC78-52E9-06A6-D0CABF348CD2}"/>
              </a:ext>
            </a:extLst>
          </p:cNvPr>
          <p:cNvSpPr/>
          <p:nvPr/>
        </p:nvSpPr>
        <p:spPr>
          <a:xfrm>
            <a:off x="724896" y="2127473"/>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CBB043B6-FDE5-EB10-6AE9-5FC1FBB9E8DA}"/>
              </a:ext>
            </a:extLst>
          </p:cNvPr>
          <p:cNvSpPr/>
          <p:nvPr/>
        </p:nvSpPr>
        <p:spPr>
          <a:xfrm>
            <a:off x="5790775" y="2200069"/>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1172CBE6-9B0A-A9A4-9696-D6AC704AE3EB}"/>
              </a:ext>
            </a:extLst>
          </p:cNvPr>
          <p:cNvSpPr/>
          <p:nvPr/>
        </p:nvSpPr>
        <p:spPr>
          <a:xfrm>
            <a:off x="5728338" y="3608577"/>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98856C44-1D9D-041B-CA43-558A7CA2002A}"/>
              </a:ext>
            </a:extLst>
          </p:cNvPr>
          <p:cNvSpPr/>
          <p:nvPr/>
        </p:nvSpPr>
        <p:spPr>
          <a:xfrm>
            <a:off x="5790775" y="5091062"/>
            <a:ext cx="903335" cy="773086"/>
          </a:xfrm>
          <a:prstGeom prst="ellipse">
            <a:avLst/>
          </a:prstGeom>
          <a:solidFill>
            <a:srgbClr val="99C9E9">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99C9E9"/>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1BF18BA-089C-4617-96E7-83F475B39878}"/>
              </a:ext>
            </a:extLst>
          </p:cNvPr>
          <p:cNvSpPr>
            <a:spLocks noGrp="1"/>
          </p:cNvSpPr>
          <p:nvPr>
            <p:ph type="title"/>
          </p:nvPr>
        </p:nvSpPr>
        <p:spPr>
          <a:xfrm>
            <a:off x="816165" y="0"/>
            <a:ext cx="10515600" cy="1373696"/>
          </a:xfrm>
        </p:spPr>
        <p:txBody>
          <a:bodyPr/>
          <a:lstStyle/>
          <a:p>
            <a:r>
              <a:rPr lang="en-US" dirty="0"/>
              <a:t>PHYSICAL AND KNOWLEDGE INFRASTRUCTURE: BARRIERS WE MUST ADDRESS TO WIN ON TALENT</a:t>
            </a:r>
          </a:p>
        </p:txBody>
      </p:sp>
      <p:grpSp>
        <p:nvGrpSpPr>
          <p:cNvPr id="3" name="Group 2">
            <a:extLst>
              <a:ext uri="{FF2B5EF4-FFF2-40B4-BE49-F238E27FC236}">
                <a16:creationId xmlns:a16="http://schemas.microsoft.com/office/drawing/2014/main" id="{D658C26E-8219-BD5B-587B-5AF6AAFE4581}"/>
              </a:ext>
            </a:extLst>
          </p:cNvPr>
          <p:cNvGrpSpPr/>
          <p:nvPr/>
        </p:nvGrpSpPr>
        <p:grpSpPr>
          <a:xfrm>
            <a:off x="1556239" y="2266668"/>
            <a:ext cx="9656770" cy="3866118"/>
            <a:chOff x="955616" y="3310819"/>
            <a:chExt cx="6688363" cy="2159351"/>
          </a:xfrm>
        </p:grpSpPr>
        <p:sp>
          <p:nvSpPr>
            <p:cNvPr id="63" name="TextBox 62">
              <a:extLst>
                <a:ext uri="{FF2B5EF4-FFF2-40B4-BE49-F238E27FC236}">
                  <a16:creationId xmlns:a16="http://schemas.microsoft.com/office/drawing/2014/main" id="{F674029F-E095-4D5A-907B-4B0CE83BC312}"/>
                </a:ext>
              </a:extLst>
            </p:cNvPr>
            <p:cNvSpPr txBox="1"/>
            <p:nvPr/>
          </p:nvSpPr>
          <p:spPr>
            <a:xfrm>
              <a:off x="955616" y="3310819"/>
              <a:ext cx="3042851" cy="2547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a:ea typeface="+mn-ea"/>
                  <a:cs typeface="+mn-cs"/>
                </a:rPr>
                <a:t>Trouble finding talent</a:t>
              </a: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4" name="TextBox 63">
              <a:extLst>
                <a:ext uri="{FF2B5EF4-FFF2-40B4-BE49-F238E27FC236}">
                  <a16:creationId xmlns:a16="http://schemas.microsoft.com/office/drawing/2014/main" id="{ABFD9B18-A90D-493C-87A7-60B4C2DA4D84}"/>
                </a:ext>
              </a:extLst>
            </p:cNvPr>
            <p:cNvSpPr txBox="1"/>
            <p:nvPr/>
          </p:nvSpPr>
          <p:spPr>
            <a:xfrm>
              <a:off x="987951" y="4199463"/>
              <a:ext cx="3375600" cy="2547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a:ea typeface="+mn-ea"/>
                  <a:cs typeface="+mn-cs"/>
                </a:rPr>
                <a:t>Workforce shortages</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Box 64">
              <a:extLst>
                <a:ext uri="{FF2B5EF4-FFF2-40B4-BE49-F238E27FC236}">
                  <a16:creationId xmlns:a16="http://schemas.microsoft.com/office/drawing/2014/main" id="{93E547AA-9394-4D9F-8764-326554878472}"/>
                </a:ext>
              </a:extLst>
            </p:cNvPr>
            <p:cNvSpPr txBox="1"/>
            <p:nvPr/>
          </p:nvSpPr>
          <p:spPr>
            <a:xfrm>
              <a:off x="4585979" y="4199463"/>
              <a:ext cx="2954556" cy="2547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charset="0"/>
                  <a:ea typeface="+mn-ea"/>
                  <a:cs typeface="+mn-cs"/>
                </a:rPr>
                <a:t>Labor force participation lagging</a:t>
              </a: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6" name="TextBox 65">
              <a:extLst>
                <a:ext uri="{FF2B5EF4-FFF2-40B4-BE49-F238E27FC236}">
                  <a16:creationId xmlns:a16="http://schemas.microsoft.com/office/drawing/2014/main" id="{4FD01346-4A2F-4CBF-BAEB-0E5B049A3016}"/>
                </a:ext>
              </a:extLst>
            </p:cNvPr>
            <p:cNvSpPr txBox="1"/>
            <p:nvPr/>
          </p:nvSpPr>
          <p:spPr>
            <a:xfrm>
              <a:off x="4585979" y="5024429"/>
              <a:ext cx="2954556" cy="25470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a:ea typeface="+mn-ea"/>
                  <a:cs typeface="+mn-cs"/>
                </a:rPr>
                <a:t>Population growth declining</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Box 66">
              <a:extLst>
                <a:ext uri="{FF2B5EF4-FFF2-40B4-BE49-F238E27FC236}">
                  <a16:creationId xmlns:a16="http://schemas.microsoft.com/office/drawing/2014/main" id="{42BFB4EA-7FC9-41FA-A384-54B6110111C1}"/>
                </a:ext>
              </a:extLst>
            </p:cNvPr>
            <p:cNvSpPr txBox="1"/>
            <p:nvPr/>
          </p:nvSpPr>
          <p:spPr>
            <a:xfrm>
              <a:off x="978241" y="5024429"/>
              <a:ext cx="2800822" cy="44574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a:ea typeface="+mn-ea"/>
                  <a:cs typeface="+mn-cs"/>
                </a:rPr>
                <a:t>Challenges retaining, recruiting and upskilling talent</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Box 67">
              <a:extLst>
                <a:ext uri="{FF2B5EF4-FFF2-40B4-BE49-F238E27FC236}">
                  <a16:creationId xmlns:a16="http://schemas.microsoft.com/office/drawing/2014/main" id="{B180CECA-69A1-4710-9769-CD03866C7DC2}"/>
                </a:ext>
              </a:extLst>
            </p:cNvPr>
            <p:cNvSpPr txBox="1"/>
            <p:nvPr/>
          </p:nvSpPr>
          <p:spPr>
            <a:xfrm>
              <a:off x="4578963" y="3310819"/>
              <a:ext cx="3065016" cy="63677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558BBF"/>
                  </a:solidFill>
                  <a:effectLst/>
                  <a:uLnTx/>
                  <a:uFillTx/>
                  <a:latin typeface="Arial" charset="0"/>
                  <a:ea typeface="+mn-ea"/>
                  <a:cs typeface="+mn-cs"/>
                </a:rPr>
                <a:t>Shortage of high-skill workers in advanced manufacturing and healthcare</a:t>
              </a: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grpSp>
      <p:pic>
        <p:nvPicPr>
          <p:cNvPr id="8" name="Graphic 7" descr="Magnifying glass with solid fill">
            <a:extLst>
              <a:ext uri="{FF2B5EF4-FFF2-40B4-BE49-F238E27FC236}">
                <a16:creationId xmlns:a16="http://schemas.microsoft.com/office/drawing/2014/main" id="{87AF9920-A4B0-B935-4E46-6F1CE569E9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3397" y="2221098"/>
            <a:ext cx="517858" cy="517858"/>
          </a:xfrm>
          <a:prstGeom prst="rect">
            <a:avLst/>
          </a:prstGeom>
        </p:spPr>
      </p:pic>
      <p:pic>
        <p:nvPicPr>
          <p:cNvPr id="10" name="Graphic 9" descr="Work from home desk with solid fill">
            <a:extLst>
              <a:ext uri="{FF2B5EF4-FFF2-40B4-BE49-F238E27FC236}">
                <a16:creationId xmlns:a16="http://schemas.microsoft.com/office/drawing/2014/main" id="{78468C26-3900-8FDB-D1A3-19C219D2FD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4896" y="3585498"/>
            <a:ext cx="688220" cy="688220"/>
          </a:xfrm>
          <a:prstGeom prst="rect">
            <a:avLst/>
          </a:prstGeom>
        </p:spPr>
      </p:pic>
      <p:pic>
        <p:nvPicPr>
          <p:cNvPr id="12" name="Graphic 11" descr="Downward trend graph with solid fill">
            <a:extLst>
              <a:ext uri="{FF2B5EF4-FFF2-40B4-BE49-F238E27FC236}">
                <a16:creationId xmlns:a16="http://schemas.microsoft.com/office/drawing/2014/main" id="{192B329E-D008-4082-C8D9-F707BD33B3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29384" y="5112361"/>
            <a:ext cx="626116" cy="626116"/>
          </a:xfrm>
          <a:prstGeom prst="rect">
            <a:avLst/>
          </a:prstGeom>
        </p:spPr>
      </p:pic>
      <p:pic>
        <p:nvPicPr>
          <p:cNvPr id="14" name="Graphic 13" descr="Doctor female with solid fill">
            <a:extLst>
              <a:ext uri="{FF2B5EF4-FFF2-40B4-BE49-F238E27FC236}">
                <a16:creationId xmlns:a16="http://schemas.microsoft.com/office/drawing/2014/main" id="{28FCAE05-07B5-616C-4C59-12E1393154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84353" y="2221098"/>
            <a:ext cx="695923" cy="695923"/>
          </a:xfrm>
          <a:prstGeom prst="rect">
            <a:avLst/>
          </a:prstGeom>
        </p:spPr>
      </p:pic>
      <p:pic>
        <p:nvPicPr>
          <p:cNvPr id="16" name="Graphic 15" descr="Teacher with solid fill">
            <a:extLst>
              <a:ext uri="{FF2B5EF4-FFF2-40B4-BE49-F238E27FC236}">
                <a16:creationId xmlns:a16="http://schemas.microsoft.com/office/drawing/2014/main" id="{F8DA447D-30B3-23DB-B9E6-9A752FE40D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8900" y="5213270"/>
            <a:ext cx="646332" cy="646332"/>
          </a:xfrm>
          <a:prstGeom prst="rect">
            <a:avLst/>
          </a:prstGeom>
        </p:spPr>
      </p:pic>
      <p:pic>
        <p:nvPicPr>
          <p:cNvPr id="18" name="Graphic 17" descr="Cycle with people with solid fill">
            <a:extLst>
              <a:ext uri="{FF2B5EF4-FFF2-40B4-BE49-F238E27FC236}">
                <a16:creationId xmlns:a16="http://schemas.microsoft.com/office/drawing/2014/main" id="{AEF1C03B-3E70-245B-CE5E-F35DDE5108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32045" y="3598700"/>
            <a:ext cx="707065" cy="707065"/>
          </a:xfrm>
          <a:prstGeom prst="rect">
            <a:avLst/>
          </a:prstGeom>
        </p:spPr>
      </p:pic>
    </p:spTree>
    <p:extLst>
      <p:ext uri="{BB962C8B-B14F-4D97-AF65-F5344CB8AC3E}">
        <p14:creationId xmlns:p14="http://schemas.microsoft.com/office/powerpoint/2010/main" val="2036424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CD841-8BA4-4053-72B4-2664B0BE8CC5}"/>
              </a:ext>
            </a:extLst>
          </p:cNvPr>
          <p:cNvSpPr>
            <a:spLocks noGrp="1"/>
          </p:cNvSpPr>
          <p:nvPr>
            <p:ph type="title"/>
          </p:nvPr>
        </p:nvSpPr>
        <p:spPr/>
        <p:txBody>
          <a:bodyPr/>
          <a:lstStyle/>
          <a:p>
            <a:r>
              <a:rPr lang="en-US" dirty="0"/>
              <a:t>PHYSICAL AND KNOWLEDGE INFRASTUCTURE: MEDC’S TALENT ACTION TEAM</a:t>
            </a:r>
          </a:p>
        </p:txBody>
      </p:sp>
      <p:sp>
        <p:nvSpPr>
          <p:cNvPr id="3" name="TextBox 2">
            <a:extLst>
              <a:ext uri="{FF2B5EF4-FFF2-40B4-BE49-F238E27FC236}">
                <a16:creationId xmlns:a16="http://schemas.microsoft.com/office/drawing/2014/main" id="{94D36727-C227-D0B8-1BFB-C2FD76D6AE65}"/>
              </a:ext>
            </a:extLst>
          </p:cNvPr>
          <p:cNvSpPr txBox="1"/>
          <p:nvPr/>
        </p:nvSpPr>
        <p:spPr>
          <a:xfrm>
            <a:off x="768857" y="2261193"/>
            <a:ext cx="5416826" cy="372409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44F94">
                    <a:lumMod val="50000"/>
                  </a:srgbClr>
                </a:solidFill>
                <a:effectLst/>
                <a:uLnTx/>
                <a:uFillTx/>
                <a:latin typeface="Arial" panose="020B0604020202020204" pitchFamily="34" charset="0"/>
                <a:ea typeface="+mn-ea"/>
                <a:cs typeface="Arial" panose="020B0604020202020204" pitchFamily="34" charset="0"/>
              </a:rPr>
              <a:t>Serving as a concierge service for talent solutions </a:t>
            </a:r>
          </a:p>
          <a:p>
            <a:pPr marL="342900" marR="0" lvl="0" indent="-3429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44F94">
                    <a:lumMod val="50000"/>
                  </a:srgbClr>
                </a:solidFill>
                <a:effectLst/>
                <a:uLnTx/>
                <a:uFillTx/>
                <a:latin typeface="Arial" panose="020B0604020202020204" pitchFamily="34" charset="0"/>
                <a:ea typeface="+mn-ea"/>
                <a:cs typeface="Arial" panose="020B0604020202020204" pitchFamily="34" charset="0"/>
              </a:rPr>
              <a:t>Sourcing and training talent to give Michigan companies an advantage in the semiconductor, EV and mobility markets</a:t>
            </a:r>
          </a:p>
          <a:p>
            <a:pPr marL="342900" marR="0" lvl="0" indent="-3429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44F94">
                    <a:lumMod val="50000"/>
                  </a:srgbClr>
                </a:solidFill>
                <a:effectLst/>
                <a:uLnTx/>
                <a:uFillTx/>
                <a:latin typeface="Arial" panose="020B0604020202020204" pitchFamily="34" charset="0"/>
                <a:ea typeface="+mn-ea"/>
                <a:cs typeface="Arial" panose="020B0604020202020204" pitchFamily="34" charset="0"/>
              </a:rPr>
              <a:t>Leveraging existing programs, like Going PRO, MI Reconnect, and more</a:t>
            </a:r>
          </a:p>
        </p:txBody>
      </p:sp>
      <p:grpSp>
        <p:nvGrpSpPr>
          <p:cNvPr id="10" name="Group 9">
            <a:extLst>
              <a:ext uri="{FF2B5EF4-FFF2-40B4-BE49-F238E27FC236}">
                <a16:creationId xmlns:a16="http://schemas.microsoft.com/office/drawing/2014/main" id="{25BCBACB-CC48-C6E4-A1F2-0D370529CA0E}"/>
              </a:ext>
            </a:extLst>
          </p:cNvPr>
          <p:cNvGrpSpPr/>
          <p:nvPr/>
        </p:nvGrpSpPr>
        <p:grpSpPr>
          <a:xfrm>
            <a:off x="6658788" y="1600263"/>
            <a:ext cx="2519151" cy="2519151"/>
            <a:chOff x="3156527" y="1793177"/>
            <a:chExt cx="2161687" cy="2161687"/>
          </a:xfrm>
        </p:grpSpPr>
        <p:sp>
          <p:nvSpPr>
            <p:cNvPr id="11" name="Rectangle: Diagonal Corners Rounded 10">
              <a:extLst>
                <a:ext uri="{FF2B5EF4-FFF2-40B4-BE49-F238E27FC236}">
                  <a16:creationId xmlns:a16="http://schemas.microsoft.com/office/drawing/2014/main" id="{D01B4984-1696-5F03-BDF6-061DF0C2132E}"/>
                </a:ext>
              </a:extLst>
            </p:cNvPr>
            <p:cNvSpPr/>
            <p:nvPr/>
          </p:nvSpPr>
          <p:spPr>
            <a:xfrm>
              <a:off x="3156527" y="1793177"/>
              <a:ext cx="2161687" cy="2161687"/>
            </a:xfrm>
            <a:prstGeom prst="round2DiagRect">
              <a:avLst>
                <a:gd name="adj1" fmla="val 29727"/>
                <a:gd name="adj2" fmla="val 0"/>
              </a:avLst>
            </a:prstGeom>
            <a:solidFill>
              <a:srgbClr val="002576"/>
            </a:solidFill>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sp>
        <p:sp>
          <p:nvSpPr>
            <p:cNvPr id="12" name="TextBox 11">
              <a:extLst>
                <a:ext uri="{FF2B5EF4-FFF2-40B4-BE49-F238E27FC236}">
                  <a16:creationId xmlns:a16="http://schemas.microsoft.com/office/drawing/2014/main" id="{F2B1FBFC-B0B0-BB58-434B-E76BE4C0FD6C}"/>
                </a:ext>
              </a:extLst>
            </p:cNvPr>
            <p:cNvSpPr txBox="1"/>
            <p:nvPr/>
          </p:nvSpPr>
          <p:spPr>
            <a:xfrm>
              <a:off x="3209726" y="2306197"/>
              <a:ext cx="2040929" cy="11356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veloping strategic labor and skill forecasts in partnership with companies so we know their top talent priorities</a:t>
              </a:r>
            </a:p>
          </p:txBody>
        </p:sp>
      </p:grpSp>
      <p:grpSp>
        <p:nvGrpSpPr>
          <p:cNvPr id="13" name="Group 12">
            <a:extLst>
              <a:ext uri="{FF2B5EF4-FFF2-40B4-BE49-F238E27FC236}">
                <a16:creationId xmlns:a16="http://schemas.microsoft.com/office/drawing/2014/main" id="{9F2D4D17-C585-A60F-65F5-FD1350165B47}"/>
              </a:ext>
            </a:extLst>
          </p:cNvPr>
          <p:cNvGrpSpPr/>
          <p:nvPr/>
        </p:nvGrpSpPr>
        <p:grpSpPr>
          <a:xfrm>
            <a:off x="9430215" y="1484074"/>
            <a:ext cx="2519151" cy="2519151"/>
            <a:chOff x="6096000" y="1793177"/>
            <a:chExt cx="2161687" cy="2161687"/>
          </a:xfrm>
          <a:solidFill>
            <a:schemeClr val="accent2">
              <a:lumMod val="60000"/>
              <a:lumOff val="40000"/>
            </a:schemeClr>
          </a:solidFill>
        </p:grpSpPr>
        <p:sp>
          <p:nvSpPr>
            <p:cNvPr id="14" name="Rectangle: Diagonal Corners Rounded 13">
              <a:extLst>
                <a:ext uri="{FF2B5EF4-FFF2-40B4-BE49-F238E27FC236}">
                  <a16:creationId xmlns:a16="http://schemas.microsoft.com/office/drawing/2014/main" id="{5A74F4D4-C6AE-8B04-F48B-92E9A84E00E3}"/>
                </a:ext>
              </a:extLst>
            </p:cNvPr>
            <p:cNvSpPr/>
            <p:nvPr/>
          </p:nvSpPr>
          <p:spPr>
            <a:xfrm>
              <a:off x="6096000" y="1793177"/>
              <a:ext cx="2161687" cy="2161687"/>
            </a:xfrm>
            <a:prstGeom prst="round2DiagRect">
              <a:avLst>
                <a:gd name="adj1" fmla="val 29727"/>
                <a:gd name="adj2" fmla="val 0"/>
              </a:avLst>
            </a:prstGeom>
            <a:grpFill/>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sp>
        <p:sp>
          <p:nvSpPr>
            <p:cNvPr id="15" name="TextBox 14">
              <a:extLst>
                <a:ext uri="{FF2B5EF4-FFF2-40B4-BE49-F238E27FC236}">
                  <a16:creationId xmlns:a16="http://schemas.microsoft.com/office/drawing/2014/main" id="{FEA9FDC6-F75F-F833-AEAF-475E06FFF74E}"/>
                </a:ext>
              </a:extLst>
            </p:cNvPr>
            <p:cNvSpPr txBox="1"/>
            <p:nvPr/>
          </p:nvSpPr>
          <p:spPr>
            <a:xfrm>
              <a:off x="6211560" y="2405898"/>
              <a:ext cx="1901809" cy="1135645"/>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moting auto industry as great place to work, offering highly purposeful and rewarding career</a:t>
              </a:r>
            </a:p>
          </p:txBody>
        </p:sp>
      </p:grpSp>
      <p:grpSp>
        <p:nvGrpSpPr>
          <p:cNvPr id="16" name="Group 15">
            <a:extLst>
              <a:ext uri="{FF2B5EF4-FFF2-40B4-BE49-F238E27FC236}">
                <a16:creationId xmlns:a16="http://schemas.microsoft.com/office/drawing/2014/main" id="{54EB5A6E-A8D8-AE4D-C5AA-B48A1024DC0E}"/>
              </a:ext>
            </a:extLst>
          </p:cNvPr>
          <p:cNvGrpSpPr/>
          <p:nvPr/>
        </p:nvGrpSpPr>
        <p:grpSpPr>
          <a:xfrm>
            <a:off x="6658789" y="4178865"/>
            <a:ext cx="2519151" cy="2519151"/>
            <a:chOff x="3156527" y="4287793"/>
            <a:chExt cx="2161687" cy="2161687"/>
          </a:xfrm>
        </p:grpSpPr>
        <p:sp>
          <p:nvSpPr>
            <p:cNvPr id="17" name="Rectangle: Diagonal Corners Rounded 16">
              <a:extLst>
                <a:ext uri="{FF2B5EF4-FFF2-40B4-BE49-F238E27FC236}">
                  <a16:creationId xmlns:a16="http://schemas.microsoft.com/office/drawing/2014/main" id="{AD8A5EEE-90AF-4B40-4C82-7F385DF2B758}"/>
                </a:ext>
              </a:extLst>
            </p:cNvPr>
            <p:cNvSpPr/>
            <p:nvPr/>
          </p:nvSpPr>
          <p:spPr>
            <a:xfrm>
              <a:off x="3156527" y="4287793"/>
              <a:ext cx="2161687" cy="2161687"/>
            </a:xfrm>
            <a:prstGeom prst="round2DiagRect">
              <a:avLst>
                <a:gd name="adj1" fmla="val 29727"/>
                <a:gd name="adj2" fmla="val 0"/>
              </a:avLst>
            </a:prstGeom>
            <a:solidFill>
              <a:schemeClr val="accent1">
                <a:lumMod val="50000"/>
              </a:schemeClr>
            </a:solidFill>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sp>
        <p:sp>
          <p:nvSpPr>
            <p:cNvPr id="18" name="TextBox 17">
              <a:extLst>
                <a:ext uri="{FF2B5EF4-FFF2-40B4-BE49-F238E27FC236}">
                  <a16:creationId xmlns:a16="http://schemas.microsoft.com/office/drawing/2014/main" id="{3C9C1947-A541-3153-39C5-9C172D636FC4}"/>
                </a:ext>
              </a:extLst>
            </p:cNvPr>
            <p:cNvSpPr txBox="1"/>
            <p:nvPr/>
          </p:nvSpPr>
          <p:spPr>
            <a:xfrm>
              <a:off x="3317362" y="4880962"/>
              <a:ext cx="1873050" cy="11356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ruiting widely – via a network of community partners – to deepen diverse pools of talent</a:t>
              </a:r>
            </a:p>
          </p:txBody>
        </p:sp>
      </p:grpSp>
      <p:grpSp>
        <p:nvGrpSpPr>
          <p:cNvPr id="19" name="Group 18">
            <a:extLst>
              <a:ext uri="{FF2B5EF4-FFF2-40B4-BE49-F238E27FC236}">
                <a16:creationId xmlns:a16="http://schemas.microsoft.com/office/drawing/2014/main" id="{B8923E21-EF73-6ED8-77A8-4AE5BF827463}"/>
              </a:ext>
            </a:extLst>
          </p:cNvPr>
          <p:cNvGrpSpPr/>
          <p:nvPr/>
        </p:nvGrpSpPr>
        <p:grpSpPr>
          <a:xfrm>
            <a:off x="9262032" y="4119414"/>
            <a:ext cx="2519151" cy="2519151"/>
            <a:chOff x="6096000" y="4287793"/>
            <a:chExt cx="2161687" cy="2161687"/>
          </a:xfrm>
          <a:solidFill>
            <a:schemeClr val="accent3">
              <a:lumMod val="75000"/>
            </a:schemeClr>
          </a:solidFill>
        </p:grpSpPr>
        <p:sp>
          <p:nvSpPr>
            <p:cNvPr id="20" name="Rectangle: Diagonal Corners Rounded 19">
              <a:extLst>
                <a:ext uri="{FF2B5EF4-FFF2-40B4-BE49-F238E27FC236}">
                  <a16:creationId xmlns:a16="http://schemas.microsoft.com/office/drawing/2014/main" id="{70FE573F-2FAD-4B78-344D-F761D61DD5B8}"/>
                </a:ext>
              </a:extLst>
            </p:cNvPr>
            <p:cNvSpPr/>
            <p:nvPr/>
          </p:nvSpPr>
          <p:spPr>
            <a:xfrm>
              <a:off x="6096000" y="4287793"/>
              <a:ext cx="2161687" cy="2161687"/>
            </a:xfrm>
            <a:prstGeom prst="round2DiagRect">
              <a:avLst>
                <a:gd name="adj1" fmla="val 29727"/>
                <a:gd name="adj2" fmla="val 0"/>
              </a:avLst>
            </a:prstGeom>
            <a:grpFill/>
          </p:spPr>
          <p:style>
            <a:lnRef idx="0">
              <a:schemeClr val="dk1">
                <a:hueOff val="0"/>
                <a:satOff val="0"/>
                <a:lumOff val="0"/>
                <a:alphaOff val="0"/>
              </a:schemeClr>
            </a:lnRef>
            <a:fillRef idx="1">
              <a:schemeClr val="bg1">
                <a:lumMod val="95000"/>
                <a:hueOff val="0"/>
                <a:satOff val="0"/>
                <a:lumOff val="0"/>
                <a:alphaOff val="0"/>
              </a:schemeClr>
            </a:fillRef>
            <a:effectRef idx="0">
              <a:schemeClr val="bg1">
                <a:lumMod val="95000"/>
                <a:hueOff val="0"/>
                <a:satOff val="0"/>
                <a:lumOff val="0"/>
                <a:alphaOff val="0"/>
              </a:schemeClr>
            </a:effectRef>
            <a:fontRef idx="minor">
              <a:schemeClr val="dk1">
                <a:hueOff val="0"/>
                <a:satOff val="0"/>
                <a:lumOff val="0"/>
                <a:alphaOff val="0"/>
              </a:schemeClr>
            </a:fontRef>
          </p:style>
        </p:sp>
        <p:sp>
          <p:nvSpPr>
            <p:cNvPr id="21" name="TextBox 20">
              <a:extLst>
                <a:ext uri="{FF2B5EF4-FFF2-40B4-BE49-F238E27FC236}">
                  <a16:creationId xmlns:a16="http://schemas.microsoft.com/office/drawing/2014/main" id="{80C062CD-650C-6458-9535-D7E6CE728E68}"/>
                </a:ext>
              </a:extLst>
            </p:cNvPr>
            <p:cNvSpPr txBox="1"/>
            <p:nvPr/>
          </p:nvSpPr>
          <p:spPr>
            <a:xfrm>
              <a:off x="6295548" y="4931977"/>
              <a:ext cx="1873050" cy="1135645"/>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tnering with training providers to develop tailored, accelerated, flexible programs</a:t>
              </a:r>
            </a:p>
          </p:txBody>
        </p:sp>
      </p:grpSp>
      <p:pic>
        <p:nvPicPr>
          <p:cNvPr id="22" name="Graphic 21" descr="Badge 1 with solid fill">
            <a:extLst>
              <a:ext uri="{FF2B5EF4-FFF2-40B4-BE49-F238E27FC236}">
                <a16:creationId xmlns:a16="http://schemas.microsoft.com/office/drawing/2014/main" id="{4BB551AF-185F-0654-EE2E-A26D6BEFA6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35755" y="1556036"/>
            <a:ext cx="705157" cy="705157"/>
          </a:xfrm>
          <a:prstGeom prst="rect">
            <a:avLst/>
          </a:prstGeom>
        </p:spPr>
      </p:pic>
      <p:pic>
        <p:nvPicPr>
          <p:cNvPr id="23" name="Graphic 22" descr="Badge with solid fill">
            <a:extLst>
              <a:ext uri="{FF2B5EF4-FFF2-40B4-BE49-F238E27FC236}">
                <a16:creationId xmlns:a16="http://schemas.microsoft.com/office/drawing/2014/main" id="{D912ECE9-CD9C-52C7-98E1-692926BD75D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67243" y="1510075"/>
            <a:ext cx="705157" cy="705157"/>
          </a:xfrm>
          <a:prstGeom prst="rect">
            <a:avLst/>
          </a:prstGeom>
        </p:spPr>
      </p:pic>
      <p:pic>
        <p:nvPicPr>
          <p:cNvPr id="24" name="Graphic 23" descr="Badge 3 with solid fill">
            <a:extLst>
              <a:ext uri="{FF2B5EF4-FFF2-40B4-BE49-F238E27FC236}">
                <a16:creationId xmlns:a16="http://schemas.microsoft.com/office/drawing/2014/main" id="{24CD1463-7382-4914-1583-219532CE6E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4916" y="4178865"/>
            <a:ext cx="691258" cy="691258"/>
          </a:xfrm>
          <a:prstGeom prst="rect">
            <a:avLst/>
          </a:prstGeom>
        </p:spPr>
      </p:pic>
      <p:pic>
        <p:nvPicPr>
          <p:cNvPr id="25" name="Graphic 24" descr="Badge 4 with solid fill">
            <a:extLst>
              <a:ext uri="{FF2B5EF4-FFF2-40B4-BE49-F238E27FC236}">
                <a16:creationId xmlns:a16="http://schemas.microsoft.com/office/drawing/2014/main" id="{34D6BEA2-D520-011E-9A8A-0162219291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4798" y="4178865"/>
            <a:ext cx="691258" cy="691258"/>
          </a:xfrm>
          <a:prstGeom prst="rect">
            <a:avLst/>
          </a:prstGeom>
        </p:spPr>
      </p:pic>
    </p:spTree>
    <p:extLst>
      <p:ext uri="{BB962C8B-B14F-4D97-AF65-F5344CB8AC3E}">
        <p14:creationId xmlns:p14="http://schemas.microsoft.com/office/powerpoint/2010/main" val="95835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1E445-3DC7-068C-688E-AE3EED32EA45}"/>
              </a:ext>
            </a:extLst>
          </p:cNvPr>
          <p:cNvSpPr>
            <a:spLocks noGrp="1"/>
          </p:cNvSpPr>
          <p:nvPr>
            <p:ph type="title"/>
          </p:nvPr>
        </p:nvSpPr>
        <p:spPr/>
        <p:txBody>
          <a:bodyPr>
            <a:noAutofit/>
          </a:bodyPr>
          <a:lstStyle/>
          <a:p>
            <a:r>
              <a:rPr lang="en-US" dirty="0">
                <a:latin typeface="Arial Black" panose="020B0A04020102020204" pitchFamily="34" charset="0"/>
              </a:rPr>
              <a:t>PHYSICAL AND KNOWLEDGE INFRASTUCTURE:</a:t>
            </a:r>
            <a:br>
              <a:rPr lang="en-US" dirty="0">
                <a:latin typeface="Arial Black" panose="020B0A04020102020204" pitchFamily="34" charset="0"/>
              </a:rPr>
            </a:br>
            <a:r>
              <a:rPr lang="en-US" dirty="0">
                <a:latin typeface="Arial Black" panose="020B0A04020102020204" pitchFamily="34" charset="0"/>
              </a:rPr>
              <a:t>STRATEGIC SITE READINESS</a:t>
            </a:r>
          </a:p>
        </p:txBody>
      </p:sp>
      <p:sp>
        <p:nvSpPr>
          <p:cNvPr id="30" name="Hexagon 29">
            <a:extLst>
              <a:ext uri="{FF2B5EF4-FFF2-40B4-BE49-F238E27FC236}">
                <a16:creationId xmlns:a16="http://schemas.microsoft.com/office/drawing/2014/main" id="{E725B178-C15D-3297-3E4C-65A5FD924AFD}"/>
              </a:ext>
            </a:extLst>
          </p:cNvPr>
          <p:cNvSpPr/>
          <p:nvPr/>
        </p:nvSpPr>
        <p:spPr>
          <a:xfrm>
            <a:off x="8101003" y="3386642"/>
            <a:ext cx="1767785" cy="1663050"/>
          </a:xfrm>
          <a:prstGeom prst="hexagon">
            <a:avLst/>
          </a:prstGeom>
          <a:solidFill>
            <a:srgbClr val="C8804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Site Selection</a:t>
            </a:r>
          </a:p>
        </p:txBody>
      </p:sp>
      <p:sp>
        <p:nvSpPr>
          <p:cNvPr id="31" name="Hexagon 30">
            <a:extLst>
              <a:ext uri="{FF2B5EF4-FFF2-40B4-BE49-F238E27FC236}">
                <a16:creationId xmlns:a16="http://schemas.microsoft.com/office/drawing/2014/main" id="{1DEC0AAE-F884-127F-5CCC-A6DAC3D4B126}"/>
              </a:ext>
            </a:extLst>
          </p:cNvPr>
          <p:cNvSpPr/>
          <p:nvPr/>
        </p:nvSpPr>
        <p:spPr>
          <a:xfrm>
            <a:off x="8123833" y="1753242"/>
            <a:ext cx="1669457" cy="1481915"/>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Site</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Hexagon 31">
            <a:extLst>
              <a:ext uri="{FF2B5EF4-FFF2-40B4-BE49-F238E27FC236}">
                <a16:creationId xmlns:a16="http://schemas.microsoft.com/office/drawing/2014/main" id="{80175695-223D-8C35-F052-4B19EFB5301F}"/>
              </a:ext>
            </a:extLst>
          </p:cNvPr>
          <p:cNvSpPr/>
          <p:nvPr/>
        </p:nvSpPr>
        <p:spPr>
          <a:xfrm>
            <a:off x="8160844" y="5170227"/>
            <a:ext cx="1669457" cy="1481915"/>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Talent</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Hexagon 32">
            <a:extLst>
              <a:ext uri="{FF2B5EF4-FFF2-40B4-BE49-F238E27FC236}">
                <a16:creationId xmlns:a16="http://schemas.microsoft.com/office/drawing/2014/main" id="{A0926F18-F61C-EA8A-64A3-73FED6F4E92E}"/>
              </a:ext>
            </a:extLst>
          </p:cNvPr>
          <p:cNvSpPr/>
          <p:nvPr/>
        </p:nvSpPr>
        <p:spPr>
          <a:xfrm>
            <a:off x="6649818" y="4339030"/>
            <a:ext cx="1679298" cy="1481916"/>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Calibri" panose="020F0502020204030204"/>
                <a:ea typeface="+mn-ea"/>
                <a:cs typeface="+mn-cs"/>
              </a:rPr>
              <a:t>Community</a:t>
            </a:r>
          </a:p>
        </p:txBody>
      </p:sp>
      <p:sp>
        <p:nvSpPr>
          <p:cNvPr id="34" name="Hexagon 33">
            <a:extLst>
              <a:ext uri="{FF2B5EF4-FFF2-40B4-BE49-F238E27FC236}">
                <a16:creationId xmlns:a16="http://schemas.microsoft.com/office/drawing/2014/main" id="{5F6B0817-0CC4-AF20-A08B-2405BA9A7F03}"/>
              </a:ext>
            </a:extLst>
          </p:cNvPr>
          <p:cNvSpPr/>
          <p:nvPr/>
        </p:nvSpPr>
        <p:spPr>
          <a:xfrm>
            <a:off x="9636986" y="2555297"/>
            <a:ext cx="1651184" cy="1524409"/>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Energy</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Hexagon 34">
            <a:extLst>
              <a:ext uri="{FF2B5EF4-FFF2-40B4-BE49-F238E27FC236}">
                <a16:creationId xmlns:a16="http://schemas.microsoft.com/office/drawing/2014/main" id="{DE009BA4-13FE-EB53-9E57-BB2B92661702}"/>
              </a:ext>
            </a:extLst>
          </p:cNvPr>
          <p:cNvSpPr/>
          <p:nvPr/>
        </p:nvSpPr>
        <p:spPr>
          <a:xfrm>
            <a:off x="6649818" y="2597401"/>
            <a:ext cx="1679298" cy="1481915"/>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Qualitative Considerations</a:t>
            </a:r>
          </a:p>
        </p:txBody>
      </p:sp>
      <p:sp>
        <p:nvSpPr>
          <p:cNvPr id="36" name="Hexagon 35">
            <a:extLst>
              <a:ext uri="{FF2B5EF4-FFF2-40B4-BE49-F238E27FC236}">
                <a16:creationId xmlns:a16="http://schemas.microsoft.com/office/drawing/2014/main" id="{593CE724-4777-1C26-66FF-3D3B18D119F5}"/>
              </a:ext>
            </a:extLst>
          </p:cNvPr>
          <p:cNvSpPr/>
          <p:nvPr/>
        </p:nvSpPr>
        <p:spPr>
          <a:xfrm>
            <a:off x="9603301" y="4355358"/>
            <a:ext cx="1669457" cy="1481916"/>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Incentives</a:t>
            </a:r>
          </a:p>
        </p:txBody>
      </p:sp>
      <p:sp>
        <p:nvSpPr>
          <p:cNvPr id="3" name="TextBox 2">
            <a:extLst>
              <a:ext uri="{FF2B5EF4-FFF2-40B4-BE49-F238E27FC236}">
                <a16:creationId xmlns:a16="http://schemas.microsoft.com/office/drawing/2014/main" id="{06B1319A-ABF0-9D48-3225-6DC0CDD02759}"/>
              </a:ext>
            </a:extLst>
          </p:cNvPr>
          <p:cNvSpPr txBox="1"/>
          <p:nvPr/>
        </p:nvSpPr>
        <p:spPr>
          <a:xfrm>
            <a:off x="939088" y="2786654"/>
            <a:ext cx="4985137"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Two initial drivers in the site section process include the site and talent avail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Additional factors include energy, community, incentives and qualitative considerations such as the cohesiveness of the team and eagerness to secure projects, DEI initiatives, environmental sustainability goals, personal interaction.</a:t>
            </a:r>
          </a:p>
        </p:txBody>
      </p:sp>
    </p:spTree>
    <p:extLst>
      <p:ext uri="{BB962C8B-B14F-4D97-AF65-F5344CB8AC3E}">
        <p14:creationId xmlns:p14="http://schemas.microsoft.com/office/powerpoint/2010/main" val="2679170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1E65C0-C9E3-C865-8367-9DEFE54457AE}"/>
              </a:ext>
            </a:extLst>
          </p:cNvPr>
          <p:cNvSpPr/>
          <p:nvPr/>
        </p:nvSpPr>
        <p:spPr>
          <a:xfrm>
            <a:off x="-2" y="0"/>
            <a:ext cx="5544620" cy="6858000"/>
          </a:xfrm>
          <a:prstGeom prst="rect">
            <a:avLst/>
          </a:prstGeom>
          <a:solidFill>
            <a:srgbClr val="0025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43A033D7-3A87-518F-BB13-99EBE1CB0E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1397" y="5128962"/>
            <a:ext cx="6245628" cy="1568451"/>
          </a:xfrm>
          <a:prstGeom prst="rect">
            <a:avLst/>
          </a:prstGeom>
        </p:spPr>
      </p:pic>
      <p:pic>
        <p:nvPicPr>
          <p:cNvPr id="4" name="Picture 3">
            <a:extLst>
              <a:ext uri="{FF2B5EF4-FFF2-40B4-BE49-F238E27FC236}">
                <a16:creationId xmlns:a16="http://schemas.microsoft.com/office/drawing/2014/main" id="{86BBBEB3-7635-3AF2-C756-44486E3899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1397" y="86407"/>
            <a:ext cx="6283198" cy="1624803"/>
          </a:xfrm>
          <a:prstGeom prst="rect">
            <a:avLst/>
          </a:prstGeom>
        </p:spPr>
      </p:pic>
      <p:pic>
        <p:nvPicPr>
          <p:cNvPr id="5" name="Picture 4">
            <a:extLst>
              <a:ext uri="{FF2B5EF4-FFF2-40B4-BE49-F238E27FC236}">
                <a16:creationId xmlns:a16="http://schemas.microsoft.com/office/drawing/2014/main" id="{37AB70D4-85D7-636C-688E-C74847330B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1397" y="1784931"/>
            <a:ext cx="6273804" cy="1577843"/>
          </a:xfrm>
          <a:prstGeom prst="rect">
            <a:avLst/>
          </a:prstGeom>
        </p:spPr>
      </p:pic>
      <p:pic>
        <p:nvPicPr>
          <p:cNvPr id="6" name="Picture 5">
            <a:extLst>
              <a:ext uri="{FF2B5EF4-FFF2-40B4-BE49-F238E27FC236}">
                <a16:creationId xmlns:a16="http://schemas.microsoft.com/office/drawing/2014/main" id="{80DF456F-7C23-F066-3708-2BC95DB667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41397" y="3439274"/>
            <a:ext cx="6301982" cy="1615411"/>
          </a:xfrm>
          <a:prstGeom prst="rect">
            <a:avLst/>
          </a:prstGeom>
        </p:spPr>
      </p:pic>
      <p:sp>
        <p:nvSpPr>
          <p:cNvPr id="7" name="TextBox 6">
            <a:extLst>
              <a:ext uri="{FF2B5EF4-FFF2-40B4-BE49-F238E27FC236}">
                <a16:creationId xmlns:a16="http://schemas.microsoft.com/office/drawing/2014/main" id="{40407B9D-EE86-2122-BAEC-374F3F79FB72}"/>
              </a:ext>
            </a:extLst>
          </p:cNvPr>
          <p:cNvSpPr txBox="1"/>
          <p:nvPr/>
        </p:nvSpPr>
        <p:spPr>
          <a:xfrm>
            <a:off x="186366" y="289841"/>
            <a:ext cx="5262357"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t>PHYSICAL AND KNOWLEDGE INFRASTRUCTURE: </a:t>
            </a:r>
            <a:b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br>
            <a:b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br>
            <a: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t>PLACE AND HOUSING MATTER IN MICHIGAN’S ECONOMIC FUTURE</a:t>
            </a:r>
            <a:endParaRPr kumimoji="0" lang="en-US" sz="24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endParaRPr>
          </a:p>
        </p:txBody>
      </p:sp>
      <p:pic>
        <p:nvPicPr>
          <p:cNvPr id="8" name="Picture 7">
            <a:extLst>
              <a:ext uri="{FF2B5EF4-FFF2-40B4-BE49-F238E27FC236}">
                <a16:creationId xmlns:a16="http://schemas.microsoft.com/office/drawing/2014/main" id="{9C554190-6CBB-D5C3-E628-5E7533A891E5}"/>
              </a:ext>
            </a:extLst>
          </p:cNvPr>
          <p:cNvPicPr>
            <a:picLocks noChangeAspect="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20000" contrast="-40000"/>
                    </a14:imgEffect>
                  </a14:imgLayer>
                </a14:imgProps>
              </a:ext>
            </a:extLst>
          </a:blip>
          <a:srcRect b="9543"/>
          <a:stretch/>
        </p:blipFill>
        <p:spPr>
          <a:xfrm>
            <a:off x="279354" y="2437578"/>
            <a:ext cx="4709239" cy="4259835"/>
          </a:xfrm>
          <a:prstGeom prst="rect">
            <a:avLst/>
          </a:prstGeom>
        </p:spPr>
      </p:pic>
      <p:cxnSp>
        <p:nvCxnSpPr>
          <p:cNvPr id="9" name="Straight Connector 8">
            <a:extLst>
              <a:ext uri="{FF2B5EF4-FFF2-40B4-BE49-F238E27FC236}">
                <a16:creationId xmlns:a16="http://schemas.microsoft.com/office/drawing/2014/main" id="{C6BF8F2F-A951-09C8-7F43-938967B3EA2B}"/>
              </a:ext>
            </a:extLst>
          </p:cNvPr>
          <p:cNvCxnSpPr>
            <a:cxnSpLocks/>
          </p:cNvCxnSpPr>
          <p:nvPr/>
        </p:nvCxnSpPr>
        <p:spPr>
          <a:xfrm>
            <a:off x="279354" y="1237221"/>
            <a:ext cx="1328629" cy="0"/>
          </a:xfrm>
          <a:prstGeom prst="line">
            <a:avLst/>
          </a:prstGeom>
          <a:ln w="76200">
            <a:solidFill>
              <a:srgbClr val="C880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733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CECE951-1F36-4959-AF6B-B176640599B5}"/>
              </a:ext>
            </a:extLst>
          </p:cNvPr>
          <p:cNvSpPr txBox="1">
            <a:spLocks/>
          </p:cNvSpPr>
          <p:nvPr/>
        </p:nvSpPr>
        <p:spPr bwMode="gray">
          <a:xfrm>
            <a:off x="0" y="-2"/>
            <a:ext cx="4871804" cy="6858001"/>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3" name="TextBox 2">
            <a:extLst>
              <a:ext uri="{FF2B5EF4-FFF2-40B4-BE49-F238E27FC236}">
                <a16:creationId xmlns:a16="http://schemas.microsoft.com/office/drawing/2014/main" id="{5E4D05E0-4AAC-B1A4-AC89-A5C722DC7BC2}"/>
              </a:ext>
            </a:extLst>
          </p:cNvPr>
          <p:cNvSpPr txBox="1"/>
          <p:nvPr/>
        </p:nvSpPr>
        <p:spPr>
          <a:xfrm>
            <a:off x="5586310" y="1590729"/>
            <a:ext cx="5738417" cy="430887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r>
              <a:rPr lang="en-US" dirty="0">
                <a:solidFill>
                  <a:srgbClr val="001D59"/>
                </a:solidFill>
                <a:latin typeface="Arial" panose="020B0604020202020204" pitchFamily="34" charset="0"/>
                <a:cs typeface="Arial" panose="020B0604020202020204" pitchFamily="34" charset="0"/>
              </a:rPr>
              <a:t>Eliminate </a:t>
            </a:r>
            <a:r>
              <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rPr>
              <a:t>barriers to accessing and utilizing MEDC programs and services</a:t>
            </a:r>
          </a:p>
          <a:p>
            <a:pPr marL="457200" marR="0" lvl="0" indent="-457200" algn="l"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r>
              <a:rPr lang="en-US" dirty="0">
                <a:solidFill>
                  <a:srgbClr val="001D59"/>
                </a:solidFill>
                <a:latin typeface="Arial" panose="020B0604020202020204" pitchFamily="34" charset="0"/>
                <a:cs typeface="Arial" panose="020B0604020202020204" pitchFamily="34" charset="0"/>
              </a:rPr>
              <a:t>Ensure</a:t>
            </a:r>
            <a:r>
              <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rPr>
              <a:t> equal access to the MEDC community development programs and services</a:t>
            </a:r>
            <a:r>
              <a:rPr lang="en-US" dirty="0">
                <a:solidFill>
                  <a:srgbClr val="001D59"/>
                </a:solidFill>
                <a:latin typeface="Arial" panose="020B0604020202020204" pitchFamily="34" charset="0"/>
                <a:cs typeface="Arial" panose="020B0604020202020204" pitchFamily="34" charset="0"/>
              </a:rPr>
              <a:t>.</a:t>
            </a:r>
            <a:endPar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endParaRPr>
          </a:p>
          <a:p>
            <a:pPr marL="457200" marR="0" lvl="0" indent="-457200" algn="l"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r>
              <a:rPr lang="en-US" dirty="0">
                <a:solidFill>
                  <a:srgbClr val="001D59"/>
                </a:solidFill>
                <a:latin typeface="Arial" panose="020B0604020202020204" pitchFamily="34" charset="0"/>
                <a:cs typeface="Arial" panose="020B0604020202020204" pitchFamily="34" charset="0"/>
              </a:rPr>
              <a:t>Provide</a:t>
            </a:r>
            <a:r>
              <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rPr>
              <a:t> the tools and network for coordinated communication regarding opportunities.</a:t>
            </a:r>
          </a:p>
          <a:p>
            <a:pPr marL="457200" marR="0" lvl="0" indent="-457200" algn="l"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rPr>
              <a:t>Identify and establish regional networking opportunities to assist developers in creating a development team, forming networks, and improving access to capital and other resources.</a:t>
            </a:r>
          </a:p>
          <a:p>
            <a:pPr marL="457200" marR="0" lvl="0" indent="-457200" algn="l" defTabSz="914400" rtl="0" eaLnBrk="1" fontAlgn="auto" latinLnBrk="0" hangingPunct="1">
              <a:lnSpc>
                <a:spcPct val="100000"/>
              </a:lnSpc>
              <a:spcBef>
                <a:spcPts val="600"/>
              </a:spcBef>
              <a:spcAft>
                <a:spcPts val="60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srgbClr val="001D59"/>
                </a:solidFill>
                <a:effectLst/>
                <a:uLnTx/>
                <a:uFillTx/>
                <a:latin typeface="Arial" panose="020B0604020202020204" pitchFamily="34" charset="0"/>
                <a:cs typeface="Arial" panose="020B0604020202020204" pitchFamily="34" charset="0"/>
              </a:rPr>
              <a:t>Establish initiative to introduce individuals to development and assist with putting them in position to take the next steps in development.</a:t>
            </a:r>
          </a:p>
        </p:txBody>
      </p:sp>
      <p:sp>
        <p:nvSpPr>
          <p:cNvPr id="21" name="TextBox 20">
            <a:extLst>
              <a:ext uri="{FF2B5EF4-FFF2-40B4-BE49-F238E27FC236}">
                <a16:creationId xmlns:a16="http://schemas.microsoft.com/office/drawing/2014/main" id="{56071E4C-8984-055A-B06F-AF2B6F3DA85A}"/>
              </a:ext>
            </a:extLst>
          </p:cNvPr>
          <p:cNvSpPr txBox="1"/>
          <p:nvPr/>
        </p:nvSpPr>
        <p:spPr>
          <a:xfrm>
            <a:off x="5058171" y="705174"/>
            <a:ext cx="6794696" cy="646331"/>
          </a:xfrm>
          <a:prstGeom prst="rect">
            <a:avLst/>
          </a:prstGeom>
          <a:noFill/>
        </p:spPr>
        <p:txBody>
          <a:bodyPr wrap="square">
            <a:spAutoFit/>
          </a:bodyPr>
          <a:lstStyle/>
          <a:p>
            <a:pPr marL="0" marR="0" lvl="0" indent="0" defTabSz="457200" rtl="0" eaLnBrk="1" fontAlgn="auto" latinLnBrk="0" hangingPunct="1">
              <a:lnSpc>
                <a:spcPct val="100000"/>
              </a:lnSpc>
              <a:spcBef>
                <a:spcPct val="0"/>
              </a:spcBef>
              <a:spcAft>
                <a:spcPts val="0"/>
              </a:spcAft>
              <a:buClrTx/>
              <a:buSzTx/>
              <a:buFontTx/>
              <a:buNone/>
              <a:tabLst/>
              <a:defRPr/>
            </a:pPr>
            <a:r>
              <a:rPr lang="en-US" sz="1800" b="1" dirty="0">
                <a:solidFill>
                  <a:srgbClr val="002576"/>
                </a:solidFill>
                <a:latin typeface="Arial" panose="020B0604020202020204" pitchFamily="34" charset="0"/>
                <a:cs typeface="Arial" panose="020B0604020202020204" pitchFamily="34" charset="0"/>
              </a:rPr>
              <a:t>To support these efforts, MEDC works to provide resources for real estate professionals and emerging developers to:</a:t>
            </a:r>
            <a:endParaRPr kumimoji="0" lang="en-US" sz="1800" b="1" i="0" u="none" strike="noStrike" kern="1200" cap="none" spc="0" normalizeH="0" baseline="0" noProof="0" dirty="0">
              <a:ln>
                <a:noFill/>
              </a:ln>
              <a:solidFill>
                <a:srgbClr val="002576"/>
              </a:solidFill>
              <a:effectLst/>
              <a:uLnTx/>
              <a:uFillTx/>
              <a:latin typeface="Arial" panose="020B0604020202020204" pitchFamily="34" charset="0"/>
              <a:ea typeface="+mj-ea"/>
              <a:cs typeface="Arial" panose="020B0604020202020204" pitchFamily="34" charset="0"/>
            </a:endParaRPr>
          </a:p>
        </p:txBody>
      </p:sp>
      <p:sp>
        <p:nvSpPr>
          <p:cNvPr id="23" name="TextBox 22">
            <a:extLst>
              <a:ext uri="{FF2B5EF4-FFF2-40B4-BE49-F238E27FC236}">
                <a16:creationId xmlns:a16="http://schemas.microsoft.com/office/drawing/2014/main" id="{8810BD3F-5D69-007E-C3C8-1DA5BD737E2C}"/>
              </a:ext>
            </a:extLst>
          </p:cNvPr>
          <p:cNvSpPr txBox="1"/>
          <p:nvPr/>
        </p:nvSpPr>
        <p:spPr>
          <a:xfrm>
            <a:off x="186367" y="2274835"/>
            <a:ext cx="4685438"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t>PHYSICAL AND KNOWLEDGE INFRASTRUCTURE: </a:t>
            </a:r>
            <a:b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br>
            <a:b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br>
            <a:r>
              <a:rPr kumimoji="0" lang="en-US" sz="2400" b="1" i="0" u="none" strike="noStrike" kern="1200" cap="none" spc="0" normalizeH="0" baseline="0" noProof="0" dirty="0">
                <a:ln>
                  <a:noFill/>
                </a:ln>
                <a:solidFill>
                  <a:prstClr val="white"/>
                </a:solidFill>
                <a:effectLst/>
                <a:uLnTx/>
                <a:uFillTx/>
                <a:latin typeface="Arial Black" panose="020B0A04020102020204" pitchFamily="34" charset="0"/>
                <a:ea typeface="+mn-ea"/>
                <a:cs typeface="Arial"/>
              </a:rPr>
              <a:t>SUPPORTING OPPORTUNITIES FOR EMERGING DEVELOPERS </a:t>
            </a:r>
            <a:endParaRPr kumimoji="0" lang="en-US" sz="24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endParaRPr>
          </a:p>
        </p:txBody>
      </p:sp>
      <p:cxnSp>
        <p:nvCxnSpPr>
          <p:cNvPr id="24" name="Straight Connector 23">
            <a:extLst>
              <a:ext uri="{FF2B5EF4-FFF2-40B4-BE49-F238E27FC236}">
                <a16:creationId xmlns:a16="http://schemas.microsoft.com/office/drawing/2014/main" id="{A5590E2A-1153-8650-2E3A-D2F331F3EE74}"/>
              </a:ext>
            </a:extLst>
          </p:cNvPr>
          <p:cNvCxnSpPr>
            <a:cxnSpLocks/>
          </p:cNvCxnSpPr>
          <p:nvPr/>
        </p:nvCxnSpPr>
        <p:spPr>
          <a:xfrm>
            <a:off x="293422" y="3573907"/>
            <a:ext cx="1328629" cy="0"/>
          </a:xfrm>
          <a:prstGeom prst="line">
            <a:avLst/>
          </a:prstGeom>
          <a:ln w="76200">
            <a:solidFill>
              <a:srgbClr val="C880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72773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7AB9840-BADB-46CF-9E05-C886E1B28DBC}"/>
              </a:ext>
            </a:extLst>
          </p:cNvPr>
          <p:cNvSpPr txBox="1"/>
          <p:nvPr/>
        </p:nvSpPr>
        <p:spPr>
          <a:xfrm>
            <a:off x="4538949" y="3525398"/>
            <a:ext cx="3161841" cy="738130"/>
          </a:xfrm>
          <a:prstGeom prst="rect">
            <a:avLst/>
          </a:prstGeom>
          <a:solidFill>
            <a:srgbClr val="00257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0" name="Straight Connector 9">
            <a:extLst>
              <a:ext uri="{FF2B5EF4-FFF2-40B4-BE49-F238E27FC236}">
                <a16:creationId xmlns:a16="http://schemas.microsoft.com/office/drawing/2014/main" id="{42BB4A1E-31F8-4AF7-A909-A26B5E446577}"/>
              </a:ext>
            </a:extLst>
          </p:cNvPr>
          <p:cNvCxnSpPr>
            <a:cxnSpLocks/>
          </p:cNvCxnSpPr>
          <p:nvPr/>
        </p:nvCxnSpPr>
        <p:spPr>
          <a:xfrm>
            <a:off x="1012838" y="4864363"/>
            <a:ext cx="1349298"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C02D4A-85BF-A56B-6D43-BA9A98C3DDA0}"/>
              </a:ext>
            </a:extLst>
          </p:cNvPr>
          <p:cNvSpPr txBox="1"/>
          <p:nvPr/>
        </p:nvSpPr>
        <p:spPr>
          <a:xfrm>
            <a:off x="824456" y="1993774"/>
            <a:ext cx="5408983" cy="267765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rPr>
              <a:t>MARKET THE STATE: </a:t>
            </a:r>
            <a:b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rPr>
            </a:b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rPr>
              <a:t>PROMOTE MICHIGAN’S IMAGE AS A WORLD-CLASS BUSINESS LOCATION AND TRAVEL DESTINATION</a:t>
            </a:r>
          </a:p>
        </p:txBody>
      </p:sp>
      <p:pic>
        <p:nvPicPr>
          <p:cNvPr id="4" name="Picture 3">
            <a:extLst>
              <a:ext uri="{FF2B5EF4-FFF2-40B4-BE49-F238E27FC236}">
                <a16:creationId xmlns:a16="http://schemas.microsoft.com/office/drawing/2014/main" id="{C77A5CED-CA56-9FFD-7755-3567DB5FFB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9866" y="1866548"/>
            <a:ext cx="3664833" cy="1099450"/>
          </a:xfrm>
          <a:prstGeom prst="rect">
            <a:avLst/>
          </a:prstGeom>
        </p:spPr>
      </p:pic>
      <p:pic>
        <p:nvPicPr>
          <p:cNvPr id="5" name="Picture 4">
            <a:extLst>
              <a:ext uri="{FF2B5EF4-FFF2-40B4-BE49-F238E27FC236}">
                <a16:creationId xmlns:a16="http://schemas.microsoft.com/office/drawing/2014/main" id="{291D5077-38F2-636B-622E-CE25E4E7D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3439" y="3261680"/>
            <a:ext cx="5408983" cy="1847255"/>
          </a:xfrm>
          <a:prstGeom prst="rect">
            <a:avLst/>
          </a:prstGeom>
        </p:spPr>
      </p:pic>
    </p:spTree>
    <p:extLst>
      <p:ext uri="{BB962C8B-B14F-4D97-AF65-F5344CB8AC3E}">
        <p14:creationId xmlns:p14="http://schemas.microsoft.com/office/powerpoint/2010/main" val="2309621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7AB9840-BADB-46CF-9E05-C886E1B28DBC}"/>
              </a:ext>
            </a:extLst>
          </p:cNvPr>
          <p:cNvSpPr txBox="1"/>
          <p:nvPr/>
        </p:nvSpPr>
        <p:spPr>
          <a:xfrm>
            <a:off x="4538949" y="3525398"/>
            <a:ext cx="3161841" cy="738130"/>
          </a:xfrm>
          <a:prstGeom prst="rect">
            <a:avLst/>
          </a:prstGeom>
          <a:solidFill>
            <a:srgbClr val="00257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CA702CC-AB81-4B2F-BC9E-A8E0EDD7D77D}"/>
              </a:ext>
            </a:extLst>
          </p:cNvPr>
          <p:cNvSpPr txBox="1"/>
          <p:nvPr/>
        </p:nvSpPr>
        <p:spPr>
          <a:xfrm>
            <a:off x="868370" y="1305744"/>
            <a:ext cx="795290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rPr>
              <a:t>THE JOURNEY TO GREAT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rPr>
              <a:t>MEETING TODAY’S REALITY AND PREPARING FOR TOMORROWS</a:t>
            </a:r>
          </a:p>
        </p:txBody>
      </p:sp>
      <p:cxnSp>
        <p:nvCxnSpPr>
          <p:cNvPr id="10" name="Straight Connector 9">
            <a:extLst>
              <a:ext uri="{FF2B5EF4-FFF2-40B4-BE49-F238E27FC236}">
                <a16:creationId xmlns:a16="http://schemas.microsoft.com/office/drawing/2014/main" id="{42BB4A1E-31F8-4AF7-A909-A26B5E446577}"/>
              </a:ext>
            </a:extLst>
          </p:cNvPr>
          <p:cNvCxnSpPr>
            <a:cxnSpLocks/>
          </p:cNvCxnSpPr>
          <p:nvPr/>
        </p:nvCxnSpPr>
        <p:spPr>
          <a:xfrm>
            <a:off x="981307" y="2862143"/>
            <a:ext cx="1349298"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2C14669-84AB-4F39-B05A-0EAA56C47497}"/>
              </a:ext>
            </a:extLst>
          </p:cNvPr>
          <p:cNvSpPr txBox="1"/>
          <p:nvPr/>
        </p:nvSpPr>
        <p:spPr>
          <a:xfrm>
            <a:off x="868370" y="3207164"/>
            <a:ext cx="7670511" cy="20928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veloping a “Moat” around Michigan Businesse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inuously Operating as Best-in-Clas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ggressively Telling our Story</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nhancing our Regional Relevancy</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ving Mountains for our Customers</a:t>
            </a:r>
          </a:p>
        </p:txBody>
      </p:sp>
    </p:spTree>
    <p:extLst>
      <p:ext uri="{BB962C8B-B14F-4D97-AF65-F5344CB8AC3E}">
        <p14:creationId xmlns:p14="http://schemas.microsoft.com/office/powerpoint/2010/main" val="2114910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3EB88-E0F1-FA40-AAA4-8B6C17B2FFD3}"/>
              </a:ext>
            </a:extLst>
          </p:cNvPr>
          <p:cNvSpPr>
            <a:spLocks noGrp="1"/>
          </p:cNvSpPr>
          <p:nvPr>
            <p:ph type="ctrTitle"/>
          </p:nvPr>
        </p:nvSpPr>
        <p:spPr>
          <a:xfrm>
            <a:off x="1524000" y="2330558"/>
            <a:ext cx="9144000" cy="1159982"/>
          </a:xfrm>
        </p:spPr>
        <p:txBody>
          <a:bodyPr/>
          <a:lstStyle/>
          <a:p>
            <a:r>
              <a:rPr lang="en-US" sz="4800" dirty="0"/>
              <a:t>THANK YOU</a:t>
            </a:r>
          </a:p>
        </p:txBody>
      </p:sp>
      <p:sp>
        <p:nvSpPr>
          <p:cNvPr id="4" name="TextBox 3">
            <a:extLst>
              <a:ext uri="{FF2B5EF4-FFF2-40B4-BE49-F238E27FC236}">
                <a16:creationId xmlns:a16="http://schemas.microsoft.com/office/drawing/2014/main" id="{949862E4-4AE6-45B8-9C59-250A9F4859AF}"/>
              </a:ext>
            </a:extLst>
          </p:cNvPr>
          <p:cNvSpPr txBox="1"/>
          <p:nvPr/>
        </p:nvSpPr>
        <p:spPr>
          <a:xfrm>
            <a:off x="4475747" y="3667365"/>
            <a:ext cx="3356811" cy="369332"/>
          </a:xfrm>
          <a:prstGeom prst="rect">
            <a:avLst/>
          </a:prstGeom>
          <a:solidFill>
            <a:srgbClr val="002576"/>
          </a:solidFill>
        </p:spPr>
        <p:txBody>
          <a:bodyPr wrap="square" rtlCol="0">
            <a:spAutoFit/>
          </a:bodyPr>
          <a:lstStyle/>
          <a:p>
            <a:endParaRPr lang="en-US" dirty="0"/>
          </a:p>
        </p:txBody>
      </p:sp>
      <p:cxnSp>
        <p:nvCxnSpPr>
          <p:cNvPr id="6" name="Straight Connector 5">
            <a:extLst>
              <a:ext uri="{FF2B5EF4-FFF2-40B4-BE49-F238E27FC236}">
                <a16:creationId xmlns:a16="http://schemas.microsoft.com/office/drawing/2014/main" id="{0794AD44-6AC1-4988-A53B-5A8E739C98F3}"/>
              </a:ext>
            </a:extLst>
          </p:cNvPr>
          <p:cNvCxnSpPr/>
          <p:nvPr/>
        </p:nvCxnSpPr>
        <p:spPr>
          <a:xfrm>
            <a:off x="4519863" y="3763618"/>
            <a:ext cx="3152274"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0474C3B-3426-46A6-8CB2-A2A70C5605C4}"/>
              </a:ext>
            </a:extLst>
          </p:cNvPr>
          <p:cNvSpPr txBox="1"/>
          <p:nvPr/>
        </p:nvSpPr>
        <p:spPr>
          <a:xfrm>
            <a:off x="3145327" y="5120189"/>
            <a:ext cx="3110163" cy="677108"/>
          </a:xfrm>
          <a:prstGeom prst="rect">
            <a:avLst/>
          </a:prstGeom>
          <a:noFill/>
        </p:spPr>
        <p:txBody>
          <a:bodyPr wrap="square" rtlCol="0">
            <a:spAutoFit/>
          </a:bodyPr>
          <a:lstStyle/>
          <a:p>
            <a:pPr algn="ctr"/>
            <a:r>
              <a:rPr lang="en-US" dirty="0">
                <a:solidFill>
                  <a:schemeClr val="bg1"/>
                </a:solidFill>
              </a:rPr>
              <a:t>Personal Mobile</a:t>
            </a:r>
            <a:br>
              <a:rPr lang="en-US" dirty="0">
                <a:solidFill>
                  <a:schemeClr val="bg1"/>
                </a:solidFill>
              </a:rPr>
            </a:br>
            <a:r>
              <a:rPr lang="en-US" sz="2000" b="1" dirty="0">
                <a:solidFill>
                  <a:schemeClr val="bg1"/>
                </a:solidFill>
              </a:rPr>
              <a:t>225.235.4830</a:t>
            </a:r>
            <a:endParaRPr lang="en-US" b="1" dirty="0">
              <a:solidFill>
                <a:schemeClr val="bg1"/>
              </a:solidFill>
            </a:endParaRPr>
          </a:p>
        </p:txBody>
      </p:sp>
      <p:sp>
        <p:nvSpPr>
          <p:cNvPr id="9" name="Subtitle 2">
            <a:extLst>
              <a:ext uri="{FF2B5EF4-FFF2-40B4-BE49-F238E27FC236}">
                <a16:creationId xmlns:a16="http://schemas.microsoft.com/office/drawing/2014/main" id="{C9E89932-D227-46CB-A15C-D0A6D79BFFDA}"/>
              </a:ext>
            </a:extLst>
          </p:cNvPr>
          <p:cNvSpPr>
            <a:spLocks noGrp="1"/>
          </p:cNvSpPr>
          <p:nvPr>
            <p:ph type="subTitle" idx="1"/>
          </p:nvPr>
        </p:nvSpPr>
        <p:spPr>
          <a:xfrm>
            <a:off x="2985837" y="4132950"/>
            <a:ext cx="6220326" cy="710507"/>
          </a:xfrm>
        </p:spPr>
        <p:txBody>
          <a:bodyPr>
            <a:normAutofit fontScale="92500" lnSpcReduction="20000"/>
          </a:bodyPr>
          <a:lstStyle/>
          <a:p>
            <a:r>
              <a:rPr lang="en-US" dirty="0"/>
              <a:t> </a:t>
            </a:r>
            <a:r>
              <a:rPr lang="en-US" b="0" dirty="0">
                <a:latin typeface="Arial" panose="020B0604020202020204" pitchFamily="34" charset="0"/>
                <a:cs typeface="Arial" panose="020B0604020202020204" pitchFamily="34" charset="0"/>
              </a:rPr>
              <a:t>Quentin L. Messer, Jr.</a:t>
            </a:r>
          </a:p>
          <a:p>
            <a:r>
              <a:rPr lang="en-US" sz="2200" dirty="0">
                <a:latin typeface="Arial" panose="020B0604020202020204" pitchFamily="34" charset="0"/>
                <a:cs typeface="Arial" panose="020B0604020202020204" pitchFamily="34" charset="0"/>
              </a:rPr>
              <a:t>Messerq@michigan.org</a:t>
            </a:r>
          </a:p>
        </p:txBody>
      </p:sp>
      <p:sp>
        <p:nvSpPr>
          <p:cNvPr id="10" name="TextBox 9">
            <a:extLst>
              <a:ext uri="{FF2B5EF4-FFF2-40B4-BE49-F238E27FC236}">
                <a16:creationId xmlns:a16="http://schemas.microsoft.com/office/drawing/2014/main" id="{140F6255-B752-41F1-8C91-D3CF03210297}"/>
              </a:ext>
            </a:extLst>
          </p:cNvPr>
          <p:cNvSpPr txBox="1"/>
          <p:nvPr/>
        </p:nvSpPr>
        <p:spPr>
          <a:xfrm>
            <a:off x="6284567" y="5120189"/>
            <a:ext cx="3110163" cy="677108"/>
          </a:xfrm>
          <a:prstGeom prst="rect">
            <a:avLst/>
          </a:prstGeom>
          <a:noFill/>
        </p:spPr>
        <p:txBody>
          <a:bodyPr wrap="square" rtlCol="0">
            <a:spAutoFit/>
          </a:bodyPr>
          <a:lstStyle/>
          <a:p>
            <a:pPr algn="ctr"/>
            <a:r>
              <a:rPr lang="en-US" dirty="0">
                <a:solidFill>
                  <a:schemeClr val="bg1"/>
                </a:solidFill>
              </a:rPr>
              <a:t>Work Mobile  </a:t>
            </a:r>
            <a:br>
              <a:rPr lang="en-US" dirty="0">
                <a:solidFill>
                  <a:schemeClr val="bg1"/>
                </a:solidFill>
              </a:rPr>
            </a:br>
            <a:r>
              <a:rPr lang="en-US" sz="2000" b="1" dirty="0">
                <a:solidFill>
                  <a:schemeClr val="bg1"/>
                </a:solidFill>
              </a:rPr>
              <a:t>517.881.5861</a:t>
            </a:r>
          </a:p>
        </p:txBody>
      </p:sp>
      <p:cxnSp>
        <p:nvCxnSpPr>
          <p:cNvPr id="11" name="Straight Connector 10">
            <a:extLst>
              <a:ext uri="{FF2B5EF4-FFF2-40B4-BE49-F238E27FC236}">
                <a16:creationId xmlns:a16="http://schemas.microsoft.com/office/drawing/2014/main" id="{EFA0B33B-503B-4105-8196-6FD7F9E4F7CA}"/>
              </a:ext>
            </a:extLst>
          </p:cNvPr>
          <p:cNvCxnSpPr>
            <a:cxnSpLocks/>
          </p:cNvCxnSpPr>
          <p:nvPr/>
        </p:nvCxnSpPr>
        <p:spPr>
          <a:xfrm>
            <a:off x="6255490" y="5120189"/>
            <a:ext cx="0" cy="83988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180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81A37DFD-E291-E630-3310-07B788517EB8}"/>
              </a:ext>
            </a:extLst>
          </p:cNvPr>
          <p:cNvSpPr/>
          <p:nvPr/>
        </p:nvSpPr>
        <p:spPr>
          <a:xfrm>
            <a:off x="5470416" y="3977404"/>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2D5A0F21-EC42-22A9-5903-3A4E150C45C2}"/>
              </a:ext>
            </a:extLst>
          </p:cNvPr>
          <p:cNvSpPr/>
          <p:nvPr/>
        </p:nvSpPr>
        <p:spPr>
          <a:xfrm>
            <a:off x="5470416" y="3030016"/>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4D0737FB-0724-D320-FD38-6733E09D3D1C}"/>
              </a:ext>
            </a:extLst>
          </p:cNvPr>
          <p:cNvSpPr/>
          <p:nvPr/>
        </p:nvSpPr>
        <p:spPr>
          <a:xfrm>
            <a:off x="5470416" y="2113624"/>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EE855C9E-43F2-A39A-32E1-B13CAB10B143}"/>
              </a:ext>
            </a:extLst>
          </p:cNvPr>
          <p:cNvSpPr/>
          <p:nvPr/>
        </p:nvSpPr>
        <p:spPr>
          <a:xfrm>
            <a:off x="5470416" y="1135240"/>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5CECE951-1F36-4959-AF6B-B176640599B5}"/>
              </a:ext>
            </a:extLst>
          </p:cNvPr>
          <p:cNvSpPr txBox="1">
            <a:spLocks/>
          </p:cNvSpPr>
          <p:nvPr/>
        </p:nvSpPr>
        <p:spPr bwMode="gray">
          <a:xfrm>
            <a:off x="0" y="-2"/>
            <a:ext cx="4871804" cy="6858001"/>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US" sz="2800" b="0" dirty="0">
                <a:solidFill>
                  <a:srgbClr val="FFFFFF"/>
                </a:solidFill>
              </a:rPr>
              <a:t>TRANSFORMATIONAL PROJECTS MATTER – </a:t>
            </a:r>
          </a:p>
          <a:p>
            <a:pPr marL="0" marR="0" lvl="0" indent="0" algn="ctr" defTabSz="457200" rtl="0" eaLnBrk="1" fontAlgn="auto" latinLnBrk="0" hangingPunct="1">
              <a:lnSpc>
                <a:spcPct val="100000"/>
              </a:lnSpc>
              <a:spcBef>
                <a:spcPct val="0"/>
              </a:spcBef>
              <a:spcAft>
                <a:spcPts val="0"/>
              </a:spcAft>
              <a:buClrTx/>
              <a:buSzTx/>
              <a:buFontTx/>
              <a:buNone/>
              <a:tabLst/>
              <a:defRPr/>
            </a:pPr>
            <a:r>
              <a:rPr lang="en-US" sz="2800" b="0" dirty="0">
                <a:solidFill>
                  <a:srgbClr val="FFFFFF"/>
                </a:solidFill>
              </a:rPr>
              <a:t>BUT ECONOMIC DEVELOPMENT IS MUCH MORE THAN THAT</a:t>
            </a: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pic>
        <p:nvPicPr>
          <p:cNvPr id="40" name="Graphic 39" descr="Take Off">
            <a:extLst>
              <a:ext uri="{FF2B5EF4-FFF2-40B4-BE49-F238E27FC236}">
                <a16:creationId xmlns:a16="http://schemas.microsoft.com/office/drawing/2014/main" id="{43F44613-97A7-4D2E-BD13-EBB753F2F845}"/>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32498"/>
          <a:stretch/>
        </p:blipFill>
        <p:spPr>
          <a:xfrm rot="20335640">
            <a:off x="5487259" y="2221177"/>
            <a:ext cx="769501" cy="522145"/>
          </a:xfrm>
          <a:prstGeom prst="rect">
            <a:avLst/>
          </a:prstGeom>
        </p:spPr>
      </p:pic>
      <p:sp>
        <p:nvSpPr>
          <p:cNvPr id="30" name="TextBox 29">
            <a:extLst>
              <a:ext uri="{FF2B5EF4-FFF2-40B4-BE49-F238E27FC236}">
                <a16:creationId xmlns:a16="http://schemas.microsoft.com/office/drawing/2014/main" id="{E040E431-0C6A-4A7D-9A61-E4AA91EAE47D}"/>
              </a:ext>
            </a:extLst>
          </p:cNvPr>
          <p:cNvSpPr txBox="1"/>
          <p:nvPr/>
        </p:nvSpPr>
        <p:spPr>
          <a:xfrm>
            <a:off x="6369868" y="324906"/>
            <a:ext cx="5198622"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Supporting placemaking investments</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9487B25B-EC35-4AFB-AFBA-C7E148713554}"/>
              </a:ext>
            </a:extLst>
          </p:cNvPr>
          <p:cNvSpPr/>
          <p:nvPr/>
        </p:nvSpPr>
        <p:spPr>
          <a:xfrm>
            <a:off x="5470416" y="172354"/>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pic>
        <p:nvPicPr>
          <p:cNvPr id="55" name="Picture 54">
            <a:extLst>
              <a:ext uri="{FF2B5EF4-FFF2-40B4-BE49-F238E27FC236}">
                <a16:creationId xmlns:a16="http://schemas.microsoft.com/office/drawing/2014/main" id="{500C74A3-A010-404F-94B9-1A4241E49280}"/>
              </a:ext>
            </a:extLst>
          </p:cNvPr>
          <p:cNvPicPr>
            <a:picLocks noChangeAspect="1"/>
          </p:cNvPicPr>
          <p:nvPr/>
        </p:nvPicPr>
        <p:blipFill>
          <a:blip r:embed="rId5">
            <a:duotone>
              <a:schemeClr val="accent5">
                <a:shade val="45000"/>
                <a:satMod val="135000"/>
              </a:schemeClr>
              <a:prstClr val="white"/>
            </a:duotone>
            <a:alphaModFix/>
            <a:lum bright="-38000" contrast="22000"/>
          </a:blip>
          <a:stretch>
            <a:fillRect/>
          </a:stretch>
        </p:blipFill>
        <p:spPr>
          <a:xfrm>
            <a:off x="5678846" y="333642"/>
            <a:ext cx="429432" cy="422151"/>
          </a:xfrm>
          <a:prstGeom prst="rect">
            <a:avLst/>
          </a:prstGeom>
        </p:spPr>
      </p:pic>
      <p:pic>
        <p:nvPicPr>
          <p:cNvPr id="51" name="Picture 50">
            <a:extLst>
              <a:ext uri="{FF2B5EF4-FFF2-40B4-BE49-F238E27FC236}">
                <a16:creationId xmlns:a16="http://schemas.microsoft.com/office/drawing/2014/main" id="{090D8279-BFE2-4083-99A5-1ECABA8403F2}"/>
              </a:ext>
            </a:extLst>
          </p:cNvPr>
          <p:cNvPicPr>
            <a:picLocks noChangeAspect="1"/>
          </p:cNvPicPr>
          <p:nvPr/>
        </p:nvPicPr>
        <p:blipFill>
          <a:blip r:embed="rId6"/>
          <a:stretch>
            <a:fillRect/>
          </a:stretch>
        </p:blipFill>
        <p:spPr>
          <a:xfrm>
            <a:off x="5654625" y="3194293"/>
            <a:ext cx="480651" cy="509781"/>
          </a:xfrm>
          <a:prstGeom prst="rect">
            <a:avLst/>
          </a:prstGeom>
        </p:spPr>
      </p:pic>
      <p:pic>
        <p:nvPicPr>
          <p:cNvPr id="5" name="Graphic 4" descr="Chat">
            <a:extLst>
              <a:ext uri="{FF2B5EF4-FFF2-40B4-BE49-F238E27FC236}">
                <a16:creationId xmlns:a16="http://schemas.microsoft.com/office/drawing/2014/main" id="{A21D0277-A817-8054-C413-38B5F9FED7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8588" y="1273440"/>
            <a:ext cx="547308" cy="552293"/>
          </a:xfrm>
          <a:prstGeom prst="rect">
            <a:avLst/>
          </a:prstGeom>
        </p:spPr>
      </p:pic>
      <p:pic>
        <p:nvPicPr>
          <p:cNvPr id="13" name="Graphic 12" descr="Store with solid fill">
            <a:extLst>
              <a:ext uri="{FF2B5EF4-FFF2-40B4-BE49-F238E27FC236}">
                <a16:creationId xmlns:a16="http://schemas.microsoft.com/office/drawing/2014/main" id="{5B195CDB-B956-537B-28E4-CD07AFDF7B0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6455" y="4110348"/>
            <a:ext cx="550094" cy="550094"/>
          </a:xfrm>
          <a:prstGeom prst="rect">
            <a:avLst/>
          </a:prstGeom>
        </p:spPr>
      </p:pic>
      <p:sp>
        <p:nvSpPr>
          <p:cNvPr id="8" name="TextBox 7">
            <a:extLst>
              <a:ext uri="{FF2B5EF4-FFF2-40B4-BE49-F238E27FC236}">
                <a16:creationId xmlns:a16="http://schemas.microsoft.com/office/drawing/2014/main" id="{F5E7D77E-70FC-70B6-43B5-4A5F4E917F6F}"/>
              </a:ext>
            </a:extLst>
          </p:cNvPr>
          <p:cNvSpPr txBox="1"/>
          <p:nvPr/>
        </p:nvSpPr>
        <p:spPr>
          <a:xfrm>
            <a:off x="6369868" y="1142281"/>
            <a:ext cx="5487351" cy="76944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Providing buyer/supplier matchmaking opportunities </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DD422A0E-B801-C5B0-8809-EE54A79D9867}"/>
              </a:ext>
            </a:extLst>
          </p:cNvPr>
          <p:cNvSpPr txBox="1"/>
          <p:nvPr/>
        </p:nvSpPr>
        <p:spPr>
          <a:xfrm>
            <a:off x="6369868" y="2289942"/>
            <a:ext cx="5198622"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Expanding into international markets </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305F6F4E-F5BE-5D7F-574E-4DA5DB52D638}"/>
              </a:ext>
            </a:extLst>
          </p:cNvPr>
          <p:cNvSpPr txBox="1"/>
          <p:nvPr/>
        </p:nvSpPr>
        <p:spPr>
          <a:xfrm>
            <a:off x="6369868" y="3188326"/>
            <a:ext cx="5198622"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Accelerating startup opportunities </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C73D909-A1CD-B4BB-57B7-BEF6D3E09400}"/>
              </a:ext>
            </a:extLst>
          </p:cNvPr>
          <p:cNvSpPr txBox="1"/>
          <p:nvPr/>
        </p:nvSpPr>
        <p:spPr>
          <a:xfrm>
            <a:off x="6369869" y="4153722"/>
            <a:ext cx="5198622" cy="43088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Helping small businesses grow </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0C47A954-793A-10F8-153F-EA7F33BF0E0E}"/>
              </a:ext>
            </a:extLst>
          </p:cNvPr>
          <p:cNvSpPr/>
          <p:nvPr/>
        </p:nvSpPr>
        <p:spPr>
          <a:xfrm>
            <a:off x="5470416" y="4986785"/>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4500FAE6-C47C-B5D8-C3F9-FDFD245BB4A2}"/>
              </a:ext>
            </a:extLst>
          </p:cNvPr>
          <p:cNvSpPr/>
          <p:nvPr/>
        </p:nvSpPr>
        <p:spPr>
          <a:xfrm>
            <a:off x="5470416" y="5949668"/>
            <a:ext cx="817772" cy="783524"/>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pic>
        <p:nvPicPr>
          <p:cNvPr id="11" name="Graphic 10" descr="Golf clubs outline">
            <a:extLst>
              <a:ext uri="{FF2B5EF4-FFF2-40B4-BE49-F238E27FC236}">
                <a16:creationId xmlns:a16="http://schemas.microsoft.com/office/drawing/2014/main" id="{49FBB3CA-EC36-0CE1-18B8-79F88A3D956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96742" y="4987217"/>
            <a:ext cx="776050" cy="776050"/>
          </a:xfrm>
          <a:prstGeom prst="rect">
            <a:avLst/>
          </a:prstGeom>
        </p:spPr>
      </p:pic>
      <p:sp>
        <p:nvSpPr>
          <p:cNvPr id="19" name="TextBox 18">
            <a:extLst>
              <a:ext uri="{FF2B5EF4-FFF2-40B4-BE49-F238E27FC236}">
                <a16:creationId xmlns:a16="http://schemas.microsoft.com/office/drawing/2014/main" id="{6255DEA4-B169-E5E8-C1BD-D2BDDAA2DAD9}"/>
              </a:ext>
            </a:extLst>
          </p:cNvPr>
          <p:cNvSpPr txBox="1"/>
          <p:nvPr/>
        </p:nvSpPr>
        <p:spPr>
          <a:xfrm>
            <a:off x="6369869" y="4993826"/>
            <a:ext cx="5822131" cy="76944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Promoting Michigan as a best-in-class destination for travel and tourism</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BDA7841D-590D-43D9-46E1-6E2387F2A6AD}"/>
              </a:ext>
            </a:extLst>
          </p:cNvPr>
          <p:cNvSpPr txBox="1"/>
          <p:nvPr/>
        </p:nvSpPr>
        <p:spPr>
          <a:xfrm>
            <a:off x="6324899" y="5897981"/>
            <a:ext cx="5198622" cy="76944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b="1" dirty="0">
                <a:solidFill>
                  <a:srgbClr val="002476"/>
                </a:solidFill>
                <a:latin typeface="Calibri" panose="020F0502020204030204"/>
              </a:rPr>
              <a:t>Protects and rehabilitate Michigan’s historic places</a:t>
            </a:r>
            <a:endParaRPr kumimoji="0" lang="en-US" sz="22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pic>
        <p:nvPicPr>
          <p:cNvPr id="22" name="Graphic 21" descr="Greek Temple with solid fill">
            <a:extLst>
              <a:ext uri="{FF2B5EF4-FFF2-40B4-BE49-F238E27FC236}">
                <a16:creationId xmlns:a16="http://schemas.microsoft.com/office/drawing/2014/main" id="{51226E91-4DB6-F451-EE72-DE6F47D87C1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60959" y="5964735"/>
            <a:ext cx="635934" cy="635934"/>
          </a:xfrm>
          <a:prstGeom prst="rect">
            <a:avLst/>
          </a:prstGeom>
        </p:spPr>
      </p:pic>
    </p:spTree>
    <p:extLst>
      <p:ext uri="{BB962C8B-B14F-4D97-AF65-F5344CB8AC3E}">
        <p14:creationId xmlns:p14="http://schemas.microsoft.com/office/powerpoint/2010/main" val="293250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8" name="Picture 47" descr="A map of the world&#10;&#10;Description automatically generated with low confidence">
            <a:extLst>
              <a:ext uri="{FF2B5EF4-FFF2-40B4-BE49-F238E27FC236}">
                <a16:creationId xmlns:a16="http://schemas.microsoft.com/office/drawing/2014/main" id="{48026D88-8CBA-4FF6-804C-20E80830223D}"/>
              </a:ext>
            </a:extLst>
          </p:cNvPr>
          <p:cNvPicPr>
            <a:picLocks noChangeAspect="1"/>
          </p:cNvPicPr>
          <p:nvPr/>
        </p:nvPicPr>
        <p:blipFill>
          <a:blip r:embed="rId3"/>
          <a:stretch>
            <a:fillRect/>
          </a:stretch>
        </p:blipFill>
        <p:spPr>
          <a:xfrm>
            <a:off x="0" y="2410"/>
            <a:ext cx="12192000" cy="6855590"/>
          </a:xfrm>
          <a:prstGeom prst="rect">
            <a:avLst/>
          </a:prstGeom>
        </p:spPr>
      </p:pic>
      <p:sp>
        <p:nvSpPr>
          <p:cNvPr id="49" name="Rectangle 48">
            <a:extLst>
              <a:ext uri="{FF2B5EF4-FFF2-40B4-BE49-F238E27FC236}">
                <a16:creationId xmlns:a16="http://schemas.microsoft.com/office/drawing/2014/main" id="{F40CA684-A368-4BAA-BBFA-3CA85743C54B}"/>
              </a:ext>
            </a:extLst>
          </p:cNvPr>
          <p:cNvSpPr/>
          <p:nvPr/>
        </p:nvSpPr>
        <p:spPr>
          <a:xfrm>
            <a:off x="0" y="0"/>
            <a:ext cx="12192000" cy="6858000"/>
          </a:xfrm>
          <a:prstGeom prst="rect">
            <a:avLst/>
          </a:prstGeom>
          <a:solidFill>
            <a:srgbClr val="002576">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87EBE80A-CD1D-45FB-BBC6-74797697D328}"/>
              </a:ext>
            </a:extLst>
          </p:cNvPr>
          <p:cNvSpPr txBox="1"/>
          <p:nvPr/>
        </p:nvSpPr>
        <p:spPr>
          <a:xfrm>
            <a:off x="542973" y="438168"/>
            <a:ext cx="927087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FFFFFF"/>
                </a:solidFill>
                <a:latin typeface="Arial Black" panose="020B0604020202020204" pitchFamily="34" charset="0"/>
                <a:cs typeface="Arial Black" panose="020B0604020202020204" pitchFamily="34" charset="0"/>
              </a:rPr>
              <a:t>CELEBRATING MICHIGA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FFFFFF"/>
                </a:solidFill>
                <a:latin typeface="Arial Black" panose="020B0604020202020204" pitchFamily="34" charset="0"/>
                <a:cs typeface="Arial Black" panose="020B0604020202020204" pitchFamily="34" charset="0"/>
              </a:rPr>
              <a:t>HISTORIC 2022</a:t>
            </a: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endParaRPr>
          </a:p>
        </p:txBody>
      </p:sp>
      <p:cxnSp>
        <p:nvCxnSpPr>
          <p:cNvPr id="11" name="Straight Connector 10">
            <a:extLst>
              <a:ext uri="{FF2B5EF4-FFF2-40B4-BE49-F238E27FC236}">
                <a16:creationId xmlns:a16="http://schemas.microsoft.com/office/drawing/2014/main" id="{8838604F-244E-4657-9CCE-9266A3ACB66C}"/>
              </a:ext>
            </a:extLst>
          </p:cNvPr>
          <p:cNvCxnSpPr>
            <a:cxnSpLocks/>
          </p:cNvCxnSpPr>
          <p:nvPr/>
        </p:nvCxnSpPr>
        <p:spPr>
          <a:xfrm>
            <a:off x="565652" y="1523098"/>
            <a:ext cx="2744380"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517338-A88E-4A8A-8F6A-9FA7473BFE55}"/>
              </a:ext>
            </a:extLst>
          </p:cNvPr>
          <p:cNvSpPr txBox="1"/>
          <p:nvPr/>
        </p:nvSpPr>
        <p:spPr>
          <a:xfrm>
            <a:off x="6699839" y="1979825"/>
            <a:ext cx="54640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pecial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tility Rates</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for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igh-Volume Customers</a:t>
            </a:r>
          </a:p>
        </p:txBody>
      </p:sp>
      <p:sp>
        <p:nvSpPr>
          <p:cNvPr id="10" name="TextBox 9">
            <a:extLst>
              <a:ext uri="{FF2B5EF4-FFF2-40B4-BE49-F238E27FC236}">
                <a16:creationId xmlns:a16="http://schemas.microsoft.com/office/drawing/2014/main" id="{178700E1-9BB9-4885-815C-DB597342A36F}"/>
              </a:ext>
            </a:extLst>
          </p:cNvPr>
          <p:cNvSpPr txBox="1"/>
          <p:nvPr/>
        </p:nvSpPr>
        <p:spPr>
          <a:xfrm>
            <a:off x="3363964" y="4522505"/>
            <a:ext cx="546407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 a result of the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igned SOAR Fund Legislation</a:t>
            </a:r>
          </a:p>
        </p:txBody>
      </p:sp>
      <p:sp>
        <p:nvSpPr>
          <p:cNvPr id="12" name="TextBox 11">
            <a:extLst>
              <a:ext uri="{FF2B5EF4-FFF2-40B4-BE49-F238E27FC236}">
                <a16:creationId xmlns:a16="http://schemas.microsoft.com/office/drawing/2014/main" id="{6DD38A7C-80A7-429C-9721-D6395CBAA94A}"/>
              </a:ext>
            </a:extLst>
          </p:cNvPr>
          <p:cNvSpPr txBox="1"/>
          <p:nvPr/>
        </p:nvSpPr>
        <p:spPr>
          <a:xfrm>
            <a:off x="158909" y="1979825"/>
            <a:ext cx="62148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lang="en-US" b="1" dirty="0">
                <a:solidFill>
                  <a:srgbClr val="FFFFFF"/>
                </a:solidFill>
                <a:latin typeface="Arial" panose="020B0604020202020204" pitchFamily="34" charset="0"/>
                <a:cs typeface="Arial" panose="020B0604020202020204" pitchFamily="34" charset="0"/>
              </a:rPr>
              <a:t>Regional Impact </a:t>
            </a:r>
            <a:r>
              <a:rPr lang="en-US" dirty="0">
                <a:solidFill>
                  <a:srgbClr val="FFFFFF"/>
                </a:solidFill>
                <a:latin typeface="Arial" panose="020B0604020202020204" pitchFamily="34" charset="0"/>
                <a:cs typeface="Arial" panose="020B0604020202020204" pitchFamily="34" charset="0"/>
              </a:rPr>
              <a:t>of MEDC across Michigan’s 83 counties</a:t>
            </a: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7" name="Group 46">
            <a:extLst>
              <a:ext uri="{FF2B5EF4-FFF2-40B4-BE49-F238E27FC236}">
                <a16:creationId xmlns:a16="http://schemas.microsoft.com/office/drawing/2014/main" id="{A6C971A6-3C05-420F-AF17-E9CFF3E6423B}"/>
              </a:ext>
            </a:extLst>
          </p:cNvPr>
          <p:cNvGrpSpPr/>
          <p:nvPr/>
        </p:nvGrpSpPr>
        <p:grpSpPr>
          <a:xfrm>
            <a:off x="3655756" y="5083620"/>
            <a:ext cx="4880488" cy="994796"/>
            <a:chOff x="826602" y="2738485"/>
            <a:chExt cx="3136411" cy="994796"/>
          </a:xfrm>
        </p:grpSpPr>
        <p:grpSp>
          <p:nvGrpSpPr>
            <p:cNvPr id="28" name="Group 27">
              <a:extLst>
                <a:ext uri="{FF2B5EF4-FFF2-40B4-BE49-F238E27FC236}">
                  <a16:creationId xmlns:a16="http://schemas.microsoft.com/office/drawing/2014/main" id="{411DEDB4-CED4-4547-995B-3B5A2330121E}"/>
                </a:ext>
              </a:extLst>
            </p:cNvPr>
            <p:cNvGrpSpPr/>
            <p:nvPr/>
          </p:nvGrpSpPr>
          <p:grpSpPr>
            <a:xfrm>
              <a:off x="826602" y="2738485"/>
              <a:ext cx="1787303" cy="991429"/>
              <a:chOff x="906059" y="3629055"/>
              <a:chExt cx="1787303" cy="991429"/>
            </a:xfrm>
          </p:grpSpPr>
          <p:sp>
            <p:nvSpPr>
              <p:cNvPr id="16" name="TextBox 15">
                <a:extLst>
                  <a:ext uri="{FF2B5EF4-FFF2-40B4-BE49-F238E27FC236}">
                    <a16:creationId xmlns:a16="http://schemas.microsoft.com/office/drawing/2014/main" id="{37825351-FE1B-4703-B390-C0656B8621EC}"/>
                  </a:ext>
                </a:extLst>
              </p:cNvPr>
              <p:cNvSpPr txBox="1"/>
              <p:nvPr/>
            </p:nvSpPr>
            <p:spPr>
              <a:xfrm>
                <a:off x="906059" y="3629055"/>
                <a:ext cx="1787303" cy="523220"/>
              </a:xfrm>
              <a:prstGeom prst="rect">
                <a:avLst/>
              </a:prstGeom>
              <a:noFill/>
            </p:spPr>
            <p:txBody>
              <a:bodyPr wrap="square" rtlCol="0">
                <a:spAutoFit/>
              </a:bodyPr>
              <a:lstStyle>
                <a:defPPr>
                  <a:defRPr lang="en-US"/>
                </a:defPPr>
                <a:lvl1pPr algn="ctr">
                  <a:defRPr sz="2800" b="1">
                    <a:latin typeface="Arial Black" panose="020B0A040201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rPr>
                  <a:t>$13.5</a:t>
                </a: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B</a:t>
                </a:r>
              </a:p>
            </p:txBody>
          </p:sp>
          <p:sp>
            <p:nvSpPr>
              <p:cNvPr id="17" name="TextBox 16">
                <a:extLst>
                  <a:ext uri="{FF2B5EF4-FFF2-40B4-BE49-F238E27FC236}">
                    <a16:creationId xmlns:a16="http://schemas.microsoft.com/office/drawing/2014/main" id="{ECFE7E7A-1A40-4B94-8CA4-0E71AF84A7EC}"/>
                  </a:ext>
                </a:extLst>
              </p:cNvPr>
              <p:cNvSpPr txBox="1"/>
              <p:nvPr/>
            </p:nvSpPr>
            <p:spPr>
              <a:xfrm>
                <a:off x="1276329" y="4097264"/>
                <a:ext cx="10467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In Priv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Investment</a:t>
                </a:r>
              </a:p>
            </p:txBody>
          </p:sp>
        </p:grpSp>
        <p:grpSp>
          <p:nvGrpSpPr>
            <p:cNvPr id="24" name="Group 23">
              <a:extLst>
                <a:ext uri="{FF2B5EF4-FFF2-40B4-BE49-F238E27FC236}">
                  <a16:creationId xmlns:a16="http://schemas.microsoft.com/office/drawing/2014/main" id="{50B53F9F-92FE-4579-AC17-96D6DB86C0FF}"/>
                </a:ext>
              </a:extLst>
            </p:cNvPr>
            <p:cNvGrpSpPr/>
            <p:nvPr/>
          </p:nvGrpSpPr>
          <p:grpSpPr>
            <a:xfrm>
              <a:off x="2536568" y="2738485"/>
              <a:ext cx="1426445" cy="994796"/>
              <a:chOff x="250568" y="3028992"/>
              <a:chExt cx="1426445" cy="994796"/>
            </a:xfrm>
          </p:grpSpPr>
          <p:sp>
            <p:nvSpPr>
              <p:cNvPr id="26" name="TextBox 25">
                <a:extLst>
                  <a:ext uri="{FF2B5EF4-FFF2-40B4-BE49-F238E27FC236}">
                    <a16:creationId xmlns:a16="http://schemas.microsoft.com/office/drawing/2014/main" id="{1093DD90-6E65-463F-9412-A3255C9957B0}"/>
                  </a:ext>
                </a:extLst>
              </p:cNvPr>
              <p:cNvSpPr txBox="1"/>
              <p:nvPr/>
            </p:nvSpPr>
            <p:spPr>
              <a:xfrm>
                <a:off x="250568" y="3028992"/>
                <a:ext cx="14264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rgbClr val="FFFFFF"/>
                    </a:solidFill>
                    <a:latin typeface="Arial Black" panose="020B0A04020102020204" pitchFamily="34" charset="0"/>
                  </a:rPr>
                  <a:t>+12</a:t>
                </a: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900</a:t>
                </a:r>
              </a:p>
            </p:txBody>
          </p:sp>
          <p:sp>
            <p:nvSpPr>
              <p:cNvPr id="27" name="TextBox 26">
                <a:extLst>
                  <a:ext uri="{FF2B5EF4-FFF2-40B4-BE49-F238E27FC236}">
                    <a16:creationId xmlns:a16="http://schemas.microsoft.com/office/drawing/2014/main" id="{B09F8FE4-9665-4082-AAC8-6606793F17F0}"/>
                  </a:ext>
                </a:extLst>
              </p:cNvPr>
              <p:cNvSpPr txBox="1"/>
              <p:nvPr/>
            </p:nvSpPr>
            <p:spPr>
              <a:xfrm>
                <a:off x="479077" y="3500568"/>
                <a:ext cx="10467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Jobs Cre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panose="020F0502020204030204"/>
                  </a:rPr>
                  <a:t>and Retained</a:t>
                </a:r>
                <a:endPar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grpSp>
        <p:nvGrpSpPr>
          <p:cNvPr id="50" name="Group 49">
            <a:extLst>
              <a:ext uri="{FF2B5EF4-FFF2-40B4-BE49-F238E27FC236}">
                <a16:creationId xmlns:a16="http://schemas.microsoft.com/office/drawing/2014/main" id="{CA7AFE3E-0519-4521-A6E7-B241E4824EC9}"/>
              </a:ext>
            </a:extLst>
          </p:cNvPr>
          <p:cNvGrpSpPr/>
          <p:nvPr/>
        </p:nvGrpSpPr>
        <p:grpSpPr>
          <a:xfrm>
            <a:off x="40772" y="2612400"/>
            <a:ext cx="6214866" cy="1279920"/>
            <a:chOff x="991268" y="2729726"/>
            <a:chExt cx="4711085" cy="1279920"/>
          </a:xfrm>
        </p:grpSpPr>
        <p:grpSp>
          <p:nvGrpSpPr>
            <p:cNvPr id="51" name="Group 50">
              <a:extLst>
                <a:ext uri="{FF2B5EF4-FFF2-40B4-BE49-F238E27FC236}">
                  <a16:creationId xmlns:a16="http://schemas.microsoft.com/office/drawing/2014/main" id="{154FB1D0-267F-4454-9B20-EAD9BDE81AFA}"/>
                </a:ext>
              </a:extLst>
            </p:cNvPr>
            <p:cNvGrpSpPr/>
            <p:nvPr/>
          </p:nvGrpSpPr>
          <p:grpSpPr>
            <a:xfrm>
              <a:off x="991268" y="2729726"/>
              <a:ext cx="1632630" cy="1279920"/>
              <a:chOff x="1070725" y="3620296"/>
              <a:chExt cx="1632630" cy="1279920"/>
            </a:xfrm>
          </p:grpSpPr>
          <p:sp>
            <p:nvSpPr>
              <p:cNvPr id="58" name="TextBox 57">
                <a:extLst>
                  <a:ext uri="{FF2B5EF4-FFF2-40B4-BE49-F238E27FC236}">
                    <a16:creationId xmlns:a16="http://schemas.microsoft.com/office/drawing/2014/main" id="{F564D295-26C7-4925-94E6-5D42DC1F40F2}"/>
                  </a:ext>
                </a:extLst>
              </p:cNvPr>
              <p:cNvSpPr txBox="1"/>
              <p:nvPr/>
            </p:nvSpPr>
            <p:spPr>
              <a:xfrm>
                <a:off x="1314743" y="3620296"/>
                <a:ext cx="1144596" cy="523220"/>
              </a:xfrm>
              <a:prstGeom prst="rect">
                <a:avLst/>
              </a:prstGeom>
              <a:noFill/>
            </p:spPr>
            <p:txBody>
              <a:bodyPr wrap="square" rtlCol="0">
                <a:spAutoFit/>
              </a:bodyPr>
              <a:lstStyle>
                <a:defPPr>
                  <a:defRPr lang="en-US"/>
                </a:defPPr>
                <a:lvl1pPr algn="ctr">
                  <a:defRPr sz="2800" b="1">
                    <a:latin typeface="Arial Black" panose="020B0A040201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600M</a:t>
                </a:r>
              </a:p>
            </p:txBody>
          </p:sp>
          <p:sp>
            <p:nvSpPr>
              <p:cNvPr id="59" name="TextBox 58">
                <a:extLst>
                  <a:ext uri="{FF2B5EF4-FFF2-40B4-BE49-F238E27FC236}">
                    <a16:creationId xmlns:a16="http://schemas.microsoft.com/office/drawing/2014/main" id="{79613326-1201-4DF8-9A27-9FA382E72788}"/>
                  </a:ext>
                </a:extLst>
              </p:cNvPr>
              <p:cNvSpPr txBox="1"/>
              <p:nvPr/>
            </p:nvSpPr>
            <p:spPr>
              <a:xfrm>
                <a:off x="1070725" y="4161552"/>
                <a:ext cx="163263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In Private Investment Leveraged for Placemaking Projects</a:t>
                </a:r>
              </a:p>
            </p:txBody>
          </p:sp>
        </p:grpSp>
        <p:grpSp>
          <p:nvGrpSpPr>
            <p:cNvPr id="52" name="Group 51">
              <a:extLst>
                <a:ext uri="{FF2B5EF4-FFF2-40B4-BE49-F238E27FC236}">
                  <a16:creationId xmlns:a16="http://schemas.microsoft.com/office/drawing/2014/main" id="{1D4B8025-9FAB-4EA7-827B-98278A5D7D80}"/>
                </a:ext>
              </a:extLst>
            </p:cNvPr>
            <p:cNvGrpSpPr/>
            <p:nvPr/>
          </p:nvGrpSpPr>
          <p:grpSpPr>
            <a:xfrm>
              <a:off x="4088887" y="2734275"/>
              <a:ext cx="1613466" cy="1257335"/>
              <a:chOff x="1688323" y="3047788"/>
              <a:chExt cx="1613466" cy="1257335"/>
            </a:xfrm>
          </p:grpSpPr>
          <p:sp>
            <p:nvSpPr>
              <p:cNvPr id="56" name="TextBox 55">
                <a:extLst>
                  <a:ext uri="{FF2B5EF4-FFF2-40B4-BE49-F238E27FC236}">
                    <a16:creationId xmlns:a16="http://schemas.microsoft.com/office/drawing/2014/main" id="{EE3B701B-E2B8-40BF-98A5-C00AE4A0BB67}"/>
                  </a:ext>
                </a:extLst>
              </p:cNvPr>
              <p:cNvSpPr txBox="1"/>
              <p:nvPr/>
            </p:nvSpPr>
            <p:spPr>
              <a:xfrm>
                <a:off x="1688323" y="3047788"/>
                <a:ext cx="1613466" cy="523220"/>
              </a:xfrm>
              <a:prstGeom prst="rect">
                <a:avLst/>
              </a:prstGeom>
              <a:noFill/>
            </p:spPr>
            <p:txBody>
              <a:bodyPr wrap="square" rtlCol="0">
                <a:spAutoFit/>
              </a:bodyPr>
              <a:lstStyle>
                <a:defPPr>
                  <a:defRPr lang="en-US"/>
                </a:defPPr>
                <a:lvl1pPr algn="ctr">
                  <a:defRPr sz="2800" b="1">
                    <a:latin typeface="Arial Black" panose="020B0A040201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5.2B</a:t>
                </a:r>
              </a:p>
            </p:txBody>
          </p:sp>
          <p:sp>
            <p:nvSpPr>
              <p:cNvPr id="57" name="TextBox 56">
                <a:extLst>
                  <a:ext uri="{FF2B5EF4-FFF2-40B4-BE49-F238E27FC236}">
                    <a16:creationId xmlns:a16="http://schemas.microsoft.com/office/drawing/2014/main" id="{6D5871A8-90A0-4E90-8C3D-B68BAA9FFB8C}"/>
                  </a:ext>
                </a:extLst>
              </p:cNvPr>
              <p:cNvSpPr txBox="1"/>
              <p:nvPr/>
            </p:nvSpPr>
            <p:spPr>
              <a:xfrm>
                <a:off x="1802825" y="3566459"/>
                <a:ext cx="149715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panose="020F0502020204030204"/>
                  </a:rPr>
                  <a:t>In Revenue for Small Businesses through State Support</a:t>
                </a:r>
                <a:endPar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6C0BBD14-1B5D-4FDC-B560-E7070F12FEC4}"/>
                </a:ext>
              </a:extLst>
            </p:cNvPr>
            <p:cNvGrpSpPr/>
            <p:nvPr/>
          </p:nvGrpSpPr>
          <p:grpSpPr>
            <a:xfrm>
              <a:off x="2629628" y="2741938"/>
              <a:ext cx="1613466" cy="1060285"/>
              <a:chOff x="343628" y="3032445"/>
              <a:chExt cx="1613466" cy="1060285"/>
            </a:xfrm>
          </p:grpSpPr>
          <p:sp>
            <p:nvSpPr>
              <p:cNvPr id="54" name="TextBox 53">
                <a:extLst>
                  <a:ext uri="{FF2B5EF4-FFF2-40B4-BE49-F238E27FC236}">
                    <a16:creationId xmlns:a16="http://schemas.microsoft.com/office/drawing/2014/main" id="{A851F6AB-7C65-4FEF-BB0F-967F540CF3A7}"/>
                  </a:ext>
                </a:extLst>
              </p:cNvPr>
              <p:cNvSpPr txBox="1"/>
              <p:nvPr/>
            </p:nvSpPr>
            <p:spPr>
              <a:xfrm>
                <a:off x="507123" y="3032445"/>
                <a:ext cx="12885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121</a:t>
                </a:r>
              </a:p>
            </p:txBody>
          </p:sp>
          <p:sp>
            <p:nvSpPr>
              <p:cNvPr id="55" name="TextBox 54">
                <a:extLst>
                  <a:ext uri="{FF2B5EF4-FFF2-40B4-BE49-F238E27FC236}">
                    <a16:creationId xmlns:a16="http://schemas.microsoft.com/office/drawing/2014/main" id="{EAC49E42-AC26-453F-8F05-94D4B0BA09BD}"/>
                  </a:ext>
                </a:extLst>
              </p:cNvPr>
              <p:cNvSpPr txBox="1"/>
              <p:nvPr/>
            </p:nvSpPr>
            <p:spPr>
              <a:xfrm>
                <a:off x="343628" y="3569510"/>
                <a:ext cx="161346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New Businesses Started through State Support</a:t>
                </a:r>
              </a:p>
            </p:txBody>
          </p:sp>
        </p:grpSp>
      </p:grpSp>
      <p:grpSp>
        <p:nvGrpSpPr>
          <p:cNvPr id="87" name="Group 86">
            <a:extLst>
              <a:ext uri="{FF2B5EF4-FFF2-40B4-BE49-F238E27FC236}">
                <a16:creationId xmlns:a16="http://schemas.microsoft.com/office/drawing/2014/main" id="{C2A56CE2-AEA8-4E6B-B572-ECC43F0BC399}"/>
              </a:ext>
            </a:extLst>
          </p:cNvPr>
          <p:cNvGrpSpPr/>
          <p:nvPr/>
        </p:nvGrpSpPr>
        <p:grpSpPr>
          <a:xfrm>
            <a:off x="6768610" y="2574572"/>
            <a:ext cx="2522828" cy="1452611"/>
            <a:chOff x="6343300" y="2574572"/>
            <a:chExt cx="2522828" cy="1452611"/>
          </a:xfrm>
        </p:grpSpPr>
        <p:sp>
          <p:nvSpPr>
            <p:cNvPr id="63" name="TextBox 62">
              <a:extLst>
                <a:ext uri="{FF2B5EF4-FFF2-40B4-BE49-F238E27FC236}">
                  <a16:creationId xmlns:a16="http://schemas.microsoft.com/office/drawing/2014/main" id="{AAE8DD8A-4C0B-4DC3-8866-DD3C2E0B3782}"/>
                </a:ext>
              </a:extLst>
            </p:cNvPr>
            <p:cNvSpPr txBox="1"/>
            <p:nvPr/>
          </p:nvSpPr>
          <p:spPr>
            <a:xfrm>
              <a:off x="6780005" y="3265565"/>
              <a:ext cx="1649419" cy="523220"/>
            </a:xfrm>
            <a:prstGeom prst="rect">
              <a:avLst/>
            </a:prstGeom>
            <a:noFill/>
          </p:spPr>
          <p:txBody>
            <a:bodyPr wrap="square" rtlCol="0">
              <a:spAutoFit/>
            </a:bodyPr>
            <a:lstStyle>
              <a:defPPr>
                <a:defRPr lang="en-US"/>
              </a:defPPr>
              <a:lvl1pPr algn="ctr">
                <a:defRPr sz="2800" b="1">
                  <a:latin typeface="Arial Black" panose="020B0A040201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35 MW</a:t>
              </a:r>
              <a:endParaRPr kumimoji="0" lang="en-US" sz="1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64" name="TextBox 63">
              <a:extLst>
                <a:ext uri="{FF2B5EF4-FFF2-40B4-BE49-F238E27FC236}">
                  <a16:creationId xmlns:a16="http://schemas.microsoft.com/office/drawing/2014/main" id="{BFA88010-B806-4D1B-8DE7-D012F26AF935}"/>
                </a:ext>
              </a:extLst>
            </p:cNvPr>
            <p:cNvSpPr txBox="1"/>
            <p:nvPr/>
          </p:nvSpPr>
          <p:spPr>
            <a:xfrm>
              <a:off x="6343300" y="2574572"/>
              <a:ext cx="252282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Consumers Energy Competitive </a:t>
              </a:r>
              <a:b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ate on Incremental Electric </a:t>
              </a:r>
              <a:b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Load with minimum</a:t>
              </a:r>
            </a:p>
          </p:txBody>
        </p:sp>
        <p:sp>
          <p:nvSpPr>
            <p:cNvPr id="67" name="TextBox 66">
              <a:extLst>
                <a:ext uri="{FF2B5EF4-FFF2-40B4-BE49-F238E27FC236}">
                  <a16:creationId xmlns:a16="http://schemas.microsoft.com/office/drawing/2014/main" id="{202DAFDB-4313-42F4-878B-2BC03CCAE596}"/>
                </a:ext>
              </a:extLst>
            </p:cNvPr>
            <p:cNvSpPr txBox="1"/>
            <p:nvPr/>
          </p:nvSpPr>
          <p:spPr>
            <a:xfrm>
              <a:off x="6696038" y="3719406"/>
              <a:ext cx="18173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For at least 15 years</a:t>
              </a:r>
            </a:p>
          </p:txBody>
        </p:sp>
      </p:grpSp>
      <p:grpSp>
        <p:nvGrpSpPr>
          <p:cNvPr id="86" name="Group 85">
            <a:extLst>
              <a:ext uri="{FF2B5EF4-FFF2-40B4-BE49-F238E27FC236}">
                <a16:creationId xmlns:a16="http://schemas.microsoft.com/office/drawing/2014/main" id="{568E5E56-7F3A-4524-8218-08D75E1CD731}"/>
              </a:ext>
            </a:extLst>
          </p:cNvPr>
          <p:cNvGrpSpPr/>
          <p:nvPr/>
        </p:nvGrpSpPr>
        <p:grpSpPr>
          <a:xfrm>
            <a:off x="9343107" y="2574572"/>
            <a:ext cx="2522828" cy="1452611"/>
            <a:chOff x="9364373" y="2574572"/>
            <a:chExt cx="2522828" cy="1452611"/>
          </a:xfrm>
        </p:grpSpPr>
        <p:sp>
          <p:nvSpPr>
            <p:cNvPr id="65" name="TextBox 64">
              <a:extLst>
                <a:ext uri="{FF2B5EF4-FFF2-40B4-BE49-F238E27FC236}">
                  <a16:creationId xmlns:a16="http://schemas.microsoft.com/office/drawing/2014/main" id="{49ECB353-24DF-498A-AEE5-9A6AE3FC1070}"/>
                </a:ext>
              </a:extLst>
            </p:cNvPr>
            <p:cNvSpPr txBox="1"/>
            <p:nvPr/>
          </p:nvSpPr>
          <p:spPr>
            <a:xfrm>
              <a:off x="9827319" y="3265565"/>
              <a:ext cx="15969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50 MW</a:t>
              </a:r>
            </a:p>
          </p:txBody>
        </p:sp>
        <p:sp>
          <p:nvSpPr>
            <p:cNvPr id="68" name="TextBox 67">
              <a:extLst>
                <a:ext uri="{FF2B5EF4-FFF2-40B4-BE49-F238E27FC236}">
                  <a16:creationId xmlns:a16="http://schemas.microsoft.com/office/drawing/2014/main" id="{363AC975-DE9C-4B20-A72A-857D537228AD}"/>
                </a:ext>
              </a:extLst>
            </p:cNvPr>
            <p:cNvSpPr txBox="1"/>
            <p:nvPr/>
          </p:nvSpPr>
          <p:spPr>
            <a:xfrm>
              <a:off x="9364373" y="2574572"/>
              <a:ext cx="252282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DTE Electric large-volume </a:t>
              </a:r>
              <a:b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customers adding incremental electric load with minimum</a:t>
              </a:r>
            </a:p>
          </p:txBody>
        </p:sp>
        <p:sp>
          <p:nvSpPr>
            <p:cNvPr id="69" name="TextBox 68">
              <a:extLst>
                <a:ext uri="{FF2B5EF4-FFF2-40B4-BE49-F238E27FC236}">
                  <a16:creationId xmlns:a16="http://schemas.microsoft.com/office/drawing/2014/main" id="{7CEDD005-FD4A-4B5D-A7EF-C5A7A59D2F2E}"/>
                </a:ext>
              </a:extLst>
            </p:cNvPr>
            <p:cNvSpPr txBox="1"/>
            <p:nvPr/>
          </p:nvSpPr>
          <p:spPr>
            <a:xfrm>
              <a:off x="9717111" y="3719406"/>
              <a:ext cx="18173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For at least 15 years</a:t>
              </a:r>
            </a:p>
          </p:txBody>
        </p:sp>
      </p:grpSp>
      <p:cxnSp>
        <p:nvCxnSpPr>
          <p:cNvPr id="79" name="Straight Connector 78">
            <a:extLst>
              <a:ext uri="{FF2B5EF4-FFF2-40B4-BE49-F238E27FC236}">
                <a16:creationId xmlns:a16="http://schemas.microsoft.com/office/drawing/2014/main" id="{7402BB81-6740-4713-B065-21DA77520E52}"/>
              </a:ext>
            </a:extLst>
          </p:cNvPr>
          <p:cNvCxnSpPr>
            <a:cxnSpLocks/>
          </p:cNvCxnSpPr>
          <p:nvPr/>
        </p:nvCxnSpPr>
        <p:spPr>
          <a:xfrm>
            <a:off x="3922705" y="4213786"/>
            <a:ext cx="434659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308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2A5C2D3-BF9A-471D-9DEA-102D1DA1EB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6" name="Object 6" hidden="1">
                        <a:extLst>
                          <a:ext uri="{FF2B5EF4-FFF2-40B4-BE49-F238E27FC236}">
                            <a16:creationId xmlns:a16="http://schemas.microsoft.com/office/drawing/2014/main" id="{12A5C2D3-BF9A-471D-9DEA-102D1DA1EB2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8762340A-DAC0-4F9D-9B8B-C05B1523C22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72049" name="2. Slide Title"/>
          <p:cNvSpPr>
            <a:spLocks noGrp="1" noChangeArrowheads="1"/>
          </p:cNvSpPr>
          <p:nvPr>
            <p:ph type="title"/>
            <p:custDataLst>
              <p:tags r:id="rId4"/>
            </p:custDataLst>
          </p:nvPr>
        </p:nvSpPr>
        <p:spPr>
          <a:xfrm>
            <a:off x="554736" y="172212"/>
            <a:ext cx="11637264" cy="731520"/>
          </a:xfrm>
        </p:spPr>
        <p:txBody>
          <a:bodyPr vert="horz" anchor="ctr"/>
          <a:lstStyle/>
          <a:p>
            <a:r>
              <a:rPr lang="en-US" sz="2800" dirty="0">
                <a:latin typeface="Arial Black" panose="020B0A04020102020204" pitchFamily="34" charset="0"/>
              </a:rPr>
              <a:t>THE WORLD IS DIFFERENT NOW THAN IT WAS PRE-COVID</a:t>
            </a:r>
          </a:p>
        </p:txBody>
      </p:sp>
      <p:sp>
        <p:nvSpPr>
          <p:cNvPr id="49" name="Oval 48">
            <a:extLst>
              <a:ext uri="{FF2B5EF4-FFF2-40B4-BE49-F238E27FC236}">
                <a16:creationId xmlns:a16="http://schemas.microsoft.com/office/drawing/2014/main" id="{0653E143-6672-4461-8DB5-1C5D0AED42A0}"/>
              </a:ext>
            </a:extLst>
          </p:cNvPr>
          <p:cNvSpPr/>
          <p:nvPr/>
        </p:nvSpPr>
        <p:spPr>
          <a:xfrm>
            <a:off x="9984468" y="1594202"/>
            <a:ext cx="357999" cy="357998"/>
          </a:xfrm>
          <a:prstGeom prst="ellipse">
            <a:avLst/>
          </a:prstGeom>
          <a:solidFill>
            <a:srgbClr val="E6E6E6"/>
          </a:solid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Symbol or</a:t>
            </a:r>
            <a:br>
              <a:rPr kumimoji="0" lang="en-US" sz="500" b="0" i="0" u="none" strike="noStrike" kern="1200" cap="none" spc="0" normalizeH="0" baseline="0" noProof="0" dirty="0">
                <a:ln>
                  <a:noFill/>
                </a:ln>
                <a:solidFill>
                  <a:srgbClr val="000000"/>
                </a:solidFill>
                <a:effectLst/>
                <a:uLnTx/>
                <a:uFillTx/>
                <a:latin typeface="Arial"/>
                <a:ea typeface="+mn-ea"/>
                <a:cs typeface="+mn-cs"/>
              </a:rPr>
            </a:br>
            <a:r>
              <a:rPr kumimoji="0" lang="en-US" sz="500" b="0" i="0" u="none" strike="noStrike" kern="1200" cap="none" spc="0" normalizeH="0" baseline="0" noProof="0" dirty="0">
                <a:ln>
                  <a:noFill/>
                </a:ln>
                <a:solidFill>
                  <a:srgbClr val="000000"/>
                </a:solidFill>
                <a:effectLst/>
                <a:uLnTx/>
                <a:uFillTx/>
                <a:latin typeface="Arial"/>
                <a:ea typeface="+mn-ea"/>
                <a:cs typeface="+mn-cs"/>
              </a:rPr>
              <a:t>Number</a:t>
            </a:r>
          </a:p>
        </p:txBody>
      </p:sp>
      <p:sp>
        <p:nvSpPr>
          <p:cNvPr id="36" name="TextBox 35">
            <a:extLst>
              <a:ext uri="{FF2B5EF4-FFF2-40B4-BE49-F238E27FC236}">
                <a16:creationId xmlns:a16="http://schemas.microsoft.com/office/drawing/2014/main" id="{A7BF48A0-0F6E-4D55-AA73-25C8E11080D4}"/>
              </a:ext>
            </a:extLst>
          </p:cNvPr>
          <p:cNvSpPr txBox="1"/>
          <p:nvPr/>
        </p:nvSpPr>
        <p:spPr>
          <a:xfrm>
            <a:off x="0" y="6308203"/>
            <a:ext cx="12192000" cy="549797"/>
          </a:xfrm>
          <a:prstGeom prst="rect">
            <a:avLst/>
          </a:prstGeom>
          <a:solidFill>
            <a:schemeClr val="bg1"/>
          </a:solidFill>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6179CF-BD6D-40A5-ACE7-A084E4064E13}"/>
              </a:ext>
            </a:extLst>
          </p:cNvPr>
          <p:cNvSpPr txBox="1"/>
          <p:nvPr/>
        </p:nvSpPr>
        <p:spPr>
          <a:xfrm>
            <a:off x="0" y="6308203"/>
            <a:ext cx="12192000" cy="549797"/>
          </a:xfrm>
          <a:prstGeom prst="rect">
            <a:avLst/>
          </a:prstGeom>
          <a:solidFill>
            <a:schemeClr val="bg1"/>
          </a:solidFill>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2" name="Picture 41" descr="A picture containing text, aircraft&#10;&#10;Description automatically generated">
            <a:extLst>
              <a:ext uri="{FF2B5EF4-FFF2-40B4-BE49-F238E27FC236}">
                <a16:creationId xmlns:a16="http://schemas.microsoft.com/office/drawing/2014/main" id="{F2BDC22F-EE2F-470D-85B1-295BCC7CBFD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10509" y="6248983"/>
            <a:ext cx="433161" cy="433161"/>
          </a:xfrm>
          <a:prstGeom prst="rect">
            <a:avLst/>
          </a:prstGeom>
        </p:spPr>
      </p:pic>
      <p:cxnSp>
        <p:nvCxnSpPr>
          <p:cNvPr id="44" name="Straight Connector 43">
            <a:extLst>
              <a:ext uri="{FF2B5EF4-FFF2-40B4-BE49-F238E27FC236}">
                <a16:creationId xmlns:a16="http://schemas.microsoft.com/office/drawing/2014/main" id="{FA2D76FA-41C1-48C0-86FE-F8A486D6C363}"/>
              </a:ext>
            </a:extLst>
          </p:cNvPr>
          <p:cNvCxnSpPr/>
          <p:nvPr/>
        </p:nvCxnSpPr>
        <p:spPr>
          <a:xfrm>
            <a:off x="554736" y="1028494"/>
            <a:ext cx="3152274"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9D89A23-A475-4EEA-B09D-1A9CFEE07D9F}"/>
              </a:ext>
            </a:extLst>
          </p:cNvPr>
          <p:cNvGrpSpPr/>
          <p:nvPr/>
        </p:nvGrpSpPr>
        <p:grpSpPr>
          <a:xfrm>
            <a:off x="554736" y="1512241"/>
            <a:ext cx="2655189" cy="4618892"/>
            <a:chOff x="6265192" y="1120829"/>
            <a:chExt cx="2655189" cy="4618892"/>
          </a:xfrm>
        </p:grpSpPr>
        <p:cxnSp>
          <p:nvCxnSpPr>
            <p:cNvPr id="66" name="Straight Connector 65">
              <a:extLst>
                <a:ext uri="{FF2B5EF4-FFF2-40B4-BE49-F238E27FC236}">
                  <a16:creationId xmlns:a16="http://schemas.microsoft.com/office/drawing/2014/main" id="{12C920FF-90A7-4573-B110-AD8D273C9ECE}"/>
                </a:ext>
              </a:extLst>
            </p:cNvPr>
            <p:cNvCxnSpPr>
              <a:cxnSpLocks/>
            </p:cNvCxnSpPr>
            <p:nvPr/>
          </p:nvCxnSpPr>
          <p:spPr>
            <a:xfrm>
              <a:off x="6265192" y="2113030"/>
              <a:ext cx="2516847" cy="0"/>
            </a:xfrm>
            <a:prstGeom prst="line">
              <a:avLst/>
            </a:prstGeom>
            <a:ln w="6350">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9094E2C-4B48-4DF3-BB86-B3232E6F8291}"/>
                </a:ext>
              </a:extLst>
            </p:cNvPr>
            <p:cNvSpPr txBox="1">
              <a:spLocks/>
            </p:cNvSpPr>
            <p:nvPr/>
          </p:nvSpPr>
          <p:spPr>
            <a:xfrm>
              <a:off x="6265192" y="2268228"/>
              <a:ext cx="2655189"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ers</a:t>
              </a:r>
            </a:p>
          </p:txBody>
        </p:sp>
        <p:sp>
          <p:nvSpPr>
            <p:cNvPr id="31" name="TextBox 30">
              <a:extLst>
                <a:ext uri="{FF2B5EF4-FFF2-40B4-BE49-F238E27FC236}">
                  <a16:creationId xmlns:a16="http://schemas.microsoft.com/office/drawing/2014/main" id="{21D4D609-81C5-4C14-9570-AD70DAEE8128}"/>
                </a:ext>
              </a:extLst>
            </p:cNvPr>
            <p:cNvSpPr txBox="1">
              <a:spLocks/>
            </p:cNvSpPr>
            <p:nvPr/>
          </p:nvSpPr>
          <p:spPr>
            <a:xfrm>
              <a:off x="6265192" y="2731205"/>
              <a:ext cx="2516847" cy="30085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ersistent COVID impacts require respons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bor force participation (59%) remains lower than peers and pre-COVID levels (62-63%), and employment remained 5% (238K) below the pre-pandemic level as of September 2021, exacerbating the challenges of an already shrinking population</a:t>
              </a:r>
            </a:p>
          </p:txBody>
        </p:sp>
        <p:grpSp>
          <p:nvGrpSpPr>
            <p:cNvPr id="23" name="CustomIcon">
              <a:extLst>
                <a:ext uri="{FF2B5EF4-FFF2-40B4-BE49-F238E27FC236}">
                  <a16:creationId xmlns:a16="http://schemas.microsoft.com/office/drawing/2014/main" id="{C4C695E1-1E50-4187-925E-1AE039852E3A}"/>
                </a:ext>
              </a:extLst>
            </p:cNvPr>
            <p:cNvGrpSpPr>
              <a:grpSpLocks noChangeAspect="1"/>
            </p:cNvGrpSpPr>
            <p:nvPr>
              <p:custDataLst>
                <p:tags r:id="rId7"/>
              </p:custDataLst>
            </p:nvPr>
          </p:nvGrpSpPr>
          <p:grpSpPr>
            <a:xfrm>
              <a:off x="7143213" y="1120829"/>
              <a:ext cx="842818" cy="842818"/>
              <a:chOff x="-205105" y="-205105"/>
              <a:chExt cx="1019810" cy="1019810"/>
            </a:xfrm>
          </p:grpSpPr>
          <p:sp>
            <p:nvSpPr>
              <p:cNvPr id="20" name="Oval 19">
                <a:extLst>
                  <a:ext uri="{FF2B5EF4-FFF2-40B4-BE49-F238E27FC236}">
                    <a16:creationId xmlns:a16="http://schemas.microsoft.com/office/drawing/2014/main" id="{795E88CD-09ED-45A3-B39D-C44E0694114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2" name="Graphic 21">
                <a:extLst>
                  <a:ext uri="{FF2B5EF4-FFF2-40B4-BE49-F238E27FC236}">
                    <a16:creationId xmlns:a16="http://schemas.microsoft.com/office/drawing/2014/main" id="{CAEC44F2-F33C-46F8-94F2-7A5AD13F326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grpSp>
        <p:nvGrpSpPr>
          <p:cNvPr id="39" name="Group 38">
            <a:extLst>
              <a:ext uri="{FF2B5EF4-FFF2-40B4-BE49-F238E27FC236}">
                <a16:creationId xmlns:a16="http://schemas.microsoft.com/office/drawing/2014/main" id="{84E42868-C959-4D0E-927A-BDE1EC933D55}"/>
              </a:ext>
            </a:extLst>
          </p:cNvPr>
          <p:cNvGrpSpPr/>
          <p:nvPr/>
        </p:nvGrpSpPr>
        <p:grpSpPr>
          <a:xfrm>
            <a:off x="3338172" y="1512241"/>
            <a:ext cx="2655189" cy="4618892"/>
            <a:chOff x="3409965" y="1120829"/>
            <a:chExt cx="2655189" cy="4618892"/>
          </a:xfrm>
        </p:grpSpPr>
        <p:cxnSp>
          <p:nvCxnSpPr>
            <p:cNvPr id="65" name="Straight Connector 64">
              <a:extLst>
                <a:ext uri="{FF2B5EF4-FFF2-40B4-BE49-F238E27FC236}">
                  <a16:creationId xmlns:a16="http://schemas.microsoft.com/office/drawing/2014/main" id="{CB68E8A8-BC0E-46B1-A2AC-2A0ECB11A403}"/>
                </a:ext>
              </a:extLst>
            </p:cNvPr>
            <p:cNvCxnSpPr>
              <a:cxnSpLocks/>
            </p:cNvCxnSpPr>
            <p:nvPr/>
          </p:nvCxnSpPr>
          <p:spPr>
            <a:xfrm>
              <a:off x="3409965" y="2113030"/>
              <a:ext cx="2516847" cy="0"/>
            </a:xfrm>
            <a:prstGeom prst="line">
              <a:avLst/>
            </a:prstGeom>
            <a:ln w="6350">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D7B5649-CD93-4A2A-8E15-B4286DEF8CF8}"/>
                </a:ext>
              </a:extLst>
            </p:cNvPr>
            <p:cNvSpPr txBox="1">
              <a:spLocks/>
            </p:cNvSpPr>
            <p:nvPr/>
          </p:nvSpPr>
          <p:spPr>
            <a:xfrm>
              <a:off x="3409965" y="2268228"/>
              <a:ext cx="2655189"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mall business</a:t>
              </a:r>
            </a:p>
          </p:txBody>
        </p:sp>
        <p:sp>
          <p:nvSpPr>
            <p:cNvPr id="30" name="TextBox 29">
              <a:extLst>
                <a:ext uri="{FF2B5EF4-FFF2-40B4-BE49-F238E27FC236}">
                  <a16:creationId xmlns:a16="http://schemas.microsoft.com/office/drawing/2014/main" id="{3AA81B81-DEF1-45B8-ACE3-3A7643658DF9}"/>
                </a:ext>
              </a:extLst>
            </p:cNvPr>
            <p:cNvSpPr txBox="1">
              <a:spLocks/>
            </p:cNvSpPr>
            <p:nvPr/>
          </p:nvSpPr>
          <p:spPr>
            <a:xfrm>
              <a:off x="3409965" y="2731205"/>
              <a:ext cx="2516847" cy="30085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mall businesses need recovery support</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mall businesses hit hard by the pandemic recession need support as they recover and endure ongoing market changes</a:t>
              </a:r>
            </a:p>
          </p:txBody>
        </p:sp>
        <p:grpSp>
          <p:nvGrpSpPr>
            <p:cNvPr id="27" name="CustomIcon">
              <a:extLst>
                <a:ext uri="{FF2B5EF4-FFF2-40B4-BE49-F238E27FC236}">
                  <a16:creationId xmlns:a16="http://schemas.microsoft.com/office/drawing/2014/main" id="{4DADB1BD-7248-48BB-9B89-AA73EEBE4B7C}"/>
                </a:ext>
              </a:extLst>
            </p:cNvPr>
            <p:cNvGrpSpPr>
              <a:grpSpLocks noChangeAspect="1"/>
            </p:cNvGrpSpPr>
            <p:nvPr>
              <p:custDataLst>
                <p:tags r:id="rId6"/>
              </p:custDataLst>
            </p:nvPr>
          </p:nvGrpSpPr>
          <p:grpSpPr>
            <a:xfrm>
              <a:off x="4287986" y="1120829"/>
              <a:ext cx="842816" cy="842816"/>
              <a:chOff x="-205105" y="-205105"/>
              <a:chExt cx="1019810" cy="1019810"/>
            </a:xfrm>
          </p:grpSpPr>
          <p:sp>
            <p:nvSpPr>
              <p:cNvPr id="21" name="Oval 20">
                <a:extLst>
                  <a:ext uri="{FF2B5EF4-FFF2-40B4-BE49-F238E27FC236}">
                    <a16:creationId xmlns:a16="http://schemas.microsoft.com/office/drawing/2014/main" id="{4FB8C800-D8AC-4010-979B-F51286AA3B3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6" name="Graphic 25">
                <a:extLst>
                  <a:ext uri="{FF2B5EF4-FFF2-40B4-BE49-F238E27FC236}">
                    <a16:creationId xmlns:a16="http://schemas.microsoft.com/office/drawing/2014/main" id="{ACD8131A-9B28-4321-B318-E74C4844592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grpSp>
        <p:nvGrpSpPr>
          <p:cNvPr id="40" name="Group 39">
            <a:extLst>
              <a:ext uri="{FF2B5EF4-FFF2-40B4-BE49-F238E27FC236}">
                <a16:creationId xmlns:a16="http://schemas.microsoft.com/office/drawing/2014/main" id="{A309B53E-E4BE-4C36-BBF9-BCD985337AA0}"/>
              </a:ext>
            </a:extLst>
          </p:cNvPr>
          <p:cNvGrpSpPr/>
          <p:nvPr/>
        </p:nvGrpSpPr>
        <p:grpSpPr>
          <a:xfrm>
            <a:off x="6121608" y="1512241"/>
            <a:ext cx="2655189" cy="4618889"/>
            <a:chOff x="6201280" y="1120829"/>
            <a:chExt cx="2655189" cy="4618889"/>
          </a:xfrm>
        </p:grpSpPr>
        <p:sp>
          <p:nvSpPr>
            <p:cNvPr id="35" name="Oval 34">
              <a:extLst>
                <a:ext uri="{FF2B5EF4-FFF2-40B4-BE49-F238E27FC236}">
                  <a16:creationId xmlns:a16="http://schemas.microsoft.com/office/drawing/2014/main" id="{5E770183-997B-423F-A901-F7728D0A5C1A}"/>
                </a:ext>
              </a:extLst>
            </p:cNvPr>
            <p:cNvSpPr/>
            <p:nvPr/>
          </p:nvSpPr>
          <p:spPr>
            <a:xfrm>
              <a:off x="7280705" y="1599834"/>
              <a:ext cx="357999" cy="357998"/>
            </a:xfrm>
            <a:prstGeom prst="ellipse">
              <a:avLst/>
            </a:prstGeom>
            <a:solidFill>
              <a:srgbClr val="E6E6E6"/>
            </a:solid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Symbol or</a:t>
              </a:r>
              <a:br>
                <a:rPr kumimoji="0" lang="en-US" sz="500" b="0" i="0" u="none" strike="noStrike" kern="1200" cap="none" spc="0" normalizeH="0" baseline="0" noProof="0" dirty="0">
                  <a:ln>
                    <a:noFill/>
                  </a:ln>
                  <a:solidFill>
                    <a:srgbClr val="000000"/>
                  </a:solidFill>
                  <a:effectLst/>
                  <a:uLnTx/>
                  <a:uFillTx/>
                  <a:latin typeface="Arial"/>
                  <a:ea typeface="+mn-ea"/>
                  <a:cs typeface="+mn-cs"/>
                </a:rPr>
              </a:br>
              <a:r>
                <a:rPr kumimoji="0" lang="en-US" sz="500" b="0" i="0" u="none" strike="noStrike" kern="1200" cap="none" spc="0" normalizeH="0" baseline="0" noProof="0" dirty="0">
                  <a:ln>
                    <a:noFill/>
                  </a:ln>
                  <a:solidFill>
                    <a:srgbClr val="000000"/>
                  </a:solidFill>
                  <a:effectLst/>
                  <a:uLnTx/>
                  <a:uFillTx/>
                  <a:latin typeface="Arial"/>
                  <a:ea typeface="+mn-ea"/>
                  <a:cs typeface="+mn-cs"/>
                </a:rPr>
                <a:t>Number</a:t>
              </a:r>
            </a:p>
          </p:txBody>
        </p:sp>
        <p:cxnSp>
          <p:nvCxnSpPr>
            <p:cNvPr id="64" name="Straight Connector 63">
              <a:extLst>
                <a:ext uri="{FF2B5EF4-FFF2-40B4-BE49-F238E27FC236}">
                  <a16:creationId xmlns:a16="http://schemas.microsoft.com/office/drawing/2014/main" id="{BC534B19-9C85-4A8A-87F7-09F42C923611}"/>
                </a:ext>
              </a:extLst>
            </p:cNvPr>
            <p:cNvCxnSpPr>
              <a:cxnSpLocks/>
            </p:cNvCxnSpPr>
            <p:nvPr/>
          </p:nvCxnSpPr>
          <p:spPr>
            <a:xfrm>
              <a:off x="6201280" y="2113030"/>
              <a:ext cx="2516847" cy="0"/>
            </a:xfrm>
            <a:prstGeom prst="line">
              <a:avLst/>
            </a:prstGeom>
            <a:ln w="6350">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2D4316F-0870-44DD-9BD2-EB807605DD5E}"/>
                </a:ext>
              </a:extLst>
            </p:cNvPr>
            <p:cNvSpPr txBox="1">
              <a:spLocks/>
            </p:cNvSpPr>
            <p:nvPr/>
          </p:nvSpPr>
          <p:spPr>
            <a:xfrm>
              <a:off x="6201280" y="2268228"/>
              <a:ext cx="2655189"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pply chain</a:t>
              </a:r>
            </a:p>
          </p:txBody>
        </p:sp>
        <p:sp>
          <p:nvSpPr>
            <p:cNvPr id="29" name="TextBox 28">
              <a:extLst>
                <a:ext uri="{FF2B5EF4-FFF2-40B4-BE49-F238E27FC236}">
                  <a16:creationId xmlns:a16="http://schemas.microsoft.com/office/drawing/2014/main" id="{F76EC9B6-58EA-4C65-AEA6-FEEB3F8C4FC0}"/>
                </a:ext>
              </a:extLst>
            </p:cNvPr>
            <p:cNvSpPr txBox="1">
              <a:spLocks/>
            </p:cNvSpPr>
            <p:nvPr/>
          </p:nvSpPr>
          <p:spPr>
            <a:xfrm>
              <a:off x="6201282" y="2731202"/>
              <a:ext cx="2516847" cy="30085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phasis on resiliency provides opportunity</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w emphasis—and significant investment—in more resilient supply chains provides and opportunity for Michigan, particularly in semiconductors</a:t>
              </a:r>
              <a:endParaRPr kumimoji="0" lang="en-GB"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38" name="CustomIcon">
              <a:extLst>
                <a:ext uri="{FF2B5EF4-FFF2-40B4-BE49-F238E27FC236}">
                  <a16:creationId xmlns:a16="http://schemas.microsoft.com/office/drawing/2014/main" id="{B83462EE-3FFF-4025-A904-42C5B13A9CF9}"/>
                </a:ext>
              </a:extLst>
            </p:cNvPr>
            <p:cNvGrpSpPr>
              <a:grpSpLocks noChangeAspect="1"/>
            </p:cNvGrpSpPr>
            <p:nvPr>
              <p:custDataLst>
                <p:tags r:id="rId5"/>
              </p:custDataLst>
            </p:nvPr>
          </p:nvGrpSpPr>
          <p:grpSpPr>
            <a:xfrm>
              <a:off x="7079303" y="1120829"/>
              <a:ext cx="842816" cy="842816"/>
              <a:chOff x="-205105" y="-205105"/>
              <a:chExt cx="1019810" cy="1019810"/>
            </a:xfrm>
          </p:grpSpPr>
          <p:sp>
            <p:nvSpPr>
              <p:cNvPr id="34" name="Oval 33">
                <a:extLst>
                  <a:ext uri="{FF2B5EF4-FFF2-40B4-BE49-F238E27FC236}">
                    <a16:creationId xmlns:a16="http://schemas.microsoft.com/office/drawing/2014/main" id="{450D6E49-76C9-4909-ADA3-09A70488D35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60D87B5E-A7DC-4376-B2C2-13B9AE32D0A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cxnSp>
        <p:nvCxnSpPr>
          <p:cNvPr id="50" name="Straight Connector 49">
            <a:extLst>
              <a:ext uri="{FF2B5EF4-FFF2-40B4-BE49-F238E27FC236}">
                <a16:creationId xmlns:a16="http://schemas.microsoft.com/office/drawing/2014/main" id="{9C703F59-F03E-417A-8C23-BCF8B0A54C48}"/>
              </a:ext>
            </a:extLst>
          </p:cNvPr>
          <p:cNvCxnSpPr>
            <a:cxnSpLocks/>
          </p:cNvCxnSpPr>
          <p:nvPr/>
        </p:nvCxnSpPr>
        <p:spPr>
          <a:xfrm>
            <a:off x="8905043" y="2504442"/>
            <a:ext cx="2516847" cy="0"/>
          </a:xfrm>
          <a:prstGeom prst="line">
            <a:avLst/>
          </a:prstGeom>
          <a:ln w="6350">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8CF60C6-5212-4B0A-8D15-6BF59D5A0EE4}"/>
              </a:ext>
            </a:extLst>
          </p:cNvPr>
          <p:cNvSpPr txBox="1">
            <a:spLocks/>
          </p:cNvSpPr>
          <p:nvPr/>
        </p:nvSpPr>
        <p:spPr>
          <a:xfrm>
            <a:off x="8905043" y="2659640"/>
            <a:ext cx="2655189"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ural shifts</a:t>
            </a:r>
          </a:p>
        </p:txBody>
      </p:sp>
      <p:sp>
        <p:nvSpPr>
          <p:cNvPr id="52" name="TextBox 51">
            <a:extLst>
              <a:ext uri="{FF2B5EF4-FFF2-40B4-BE49-F238E27FC236}">
                <a16:creationId xmlns:a16="http://schemas.microsoft.com/office/drawing/2014/main" id="{07B75361-D883-4AF9-A829-F411BDE6D184}"/>
              </a:ext>
            </a:extLst>
          </p:cNvPr>
          <p:cNvSpPr txBox="1">
            <a:spLocks/>
          </p:cNvSpPr>
          <p:nvPr/>
        </p:nvSpPr>
        <p:spPr>
          <a:xfrm>
            <a:off x="8905045" y="3122614"/>
            <a:ext cx="2516847" cy="30085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ves to rural areas demonstrate potential</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ile Michigan’s most distressed rural regions saw a 14% population decline before the pandemic, they saw a 2% increase during the pandemic—and other regions also slowed declines</a:t>
            </a:r>
            <a:endParaRPr kumimoji="0" lang="en-GB"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43" name="Group 42">
            <a:extLst>
              <a:ext uri="{FF2B5EF4-FFF2-40B4-BE49-F238E27FC236}">
                <a16:creationId xmlns:a16="http://schemas.microsoft.com/office/drawing/2014/main" id="{7B9FF451-EC97-43FC-A12F-6F1EE0B47E01}"/>
              </a:ext>
            </a:extLst>
          </p:cNvPr>
          <p:cNvGrpSpPr/>
          <p:nvPr/>
        </p:nvGrpSpPr>
        <p:grpSpPr>
          <a:xfrm>
            <a:off x="9783066" y="1512241"/>
            <a:ext cx="842816" cy="842816"/>
            <a:chOff x="9783066" y="1115197"/>
            <a:chExt cx="842816" cy="842816"/>
          </a:xfrm>
        </p:grpSpPr>
        <p:sp>
          <p:nvSpPr>
            <p:cNvPr id="54" name="Oval 53">
              <a:extLst>
                <a:ext uri="{FF2B5EF4-FFF2-40B4-BE49-F238E27FC236}">
                  <a16:creationId xmlns:a16="http://schemas.microsoft.com/office/drawing/2014/main" id="{8B3AFDC7-0206-4BCB-9F7E-F99DAF05C306}"/>
                </a:ext>
              </a:extLst>
            </p:cNvPr>
            <p:cNvSpPr>
              <a:spLocks noChangeAspect="1"/>
            </p:cNvSpPr>
            <p:nvPr/>
          </p:nvSpPr>
          <p:spPr>
            <a:xfrm>
              <a:off x="9783066" y="1115197"/>
              <a:ext cx="842816" cy="84281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Freeform 22">
              <a:extLst>
                <a:ext uri="{FF2B5EF4-FFF2-40B4-BE49-F238E27FC236}">
                  <a16:creationId xmlns:a16="http://schemas.microsoft.com/office/drawing/2014/main" id="{847950D8-895B-4049-A6F2-836C21494B40}"/>
                </a:ext>
              </a:extLst>
            </p:cNvPr>
            <p:cNvSpPr>
              <a:spLocks noEditPoints="1"/>
            </p:cNvSpPr>
            <p:nvPr/>
          </p:nvSpPr>
          <p:spPr bwMode="auto">
            <a:xfrm>
              <a:off x="9957584" y="1261880"/>
              <a:ext cx="499291" cy="526627"/>
            </a:xfrm>
            <a:custGeom>
              <a:avLst/>
              <a:gdLst>
                <a:gd name="T0" fmla="*/ 530 w 621"/>
                <a:gd name="T1" fmla="*/ 414 h 655"/>
                <a:gd name="T2" fmla="*/ 329 w 621"/>
                <a:gd name="T3" fmla="*/ 312 h 655"/>
                <a:gd name="T4" fmla="*/ 269 w 621"/>
                <a:gd name="T5" fmla="*/ 271 h 655"/>
                <a:gd name="T6" fmla="*/ 346 w 621"/>
                <a:gd name="T7" fmla="*/ 239 h 655"/>
                <a:gd name="T8" fmla="*/ 536 w 621"/>
                <a:gd name="T9" fmla="*/ 634 h 655"/>
                <a:gd name="T10" fmla="*/ 446 w 621"/>
                <a:gd name="T11" fmla="*/ 642 h 655"/>
                <a:gd name="T12" fmla="*/ 357 w 621"/>
                <a:gd name="T13" fmla="*/ 649 h 655"/>
                <a:gd name="T14" fmla="*/ 325 w 621"/>
                <a:gd name="T15" fmla="*/ 615 h 655"/>
                <a:gd name="T16" fmla="*/ 336 w 621"/>
                <a:gd name="T17" fmla="*/ 527 h 655"/>
                <a:gd name="T18" fmla="*/ 312 w 621"/>
                <a:gd name="T19" fmla="*/ 440 h 655"/>
                <a:gd name="T20" fmla="*/ 316 w 621"/>
                <a:gd name="T21" fmla="*/ 354 h 655"/>
                <a:gd name="T22" fmla="*/ 357 w 621"/>
                <a:gd name="T23" fmla="*/ 295 h 655"/>
                <a:gd name="T24" fmla="*/ 363 w 621"/>
                <a:gd name="T25" fmla="*/ 333 h 655"/>
                <a:gd name="T26" fmla="*/ 374 w 621"/>
                <a:gd name="T27" fmla="*/ 327 h 655"/>
                <a:gd name="T28" fmla="*/ 400 w 621"/>
                <a:gd name="T29" fmla="*/ 267 h 655"/>
                <a:gd name="T30" fmla="*/ 408 w 621"/>
                <a:gd name="T31" fmla="*/ 229 h 655"/>
                <a:gd name="T32" fmla="*/ 474 w 621"/>
                <a:gd name="T33" fmla="*/ 250 h 655"/>
                <a:gd name="T34" fmla="*/ 513 w 621"/>
                <a:gd name="T35" fmla="*/ 271 h 655"/>
                <a:gd name="T36" fmla="*/ 517 w 621"/>
                <a:gd name="T37" fmla="*/ 305 h 655"/>
                <a:gd name="T38" fmla="*/ 526 w 621"/>
                <a:gd name="T39" fmla="*/ 371 h 655"/>
                <a:gd name="T40" fmla="*/ 496 w 621"/>
                <a:gd name="T41" fmla="*/ 414 h 655"/>
                <a:gd name="T42" fmla="*/ 528 w 621"/>
                <a:gd name="T43" fmla="*/ 429 h 655"/>
                <a:gd name="T44" fmla="*/ 557 w 621"/>
                <a:gd name="T45" fmla="*/ 395 h 655"/>
                <a:gd name="T46" fmla="*/ 598 w 621"/>
                <a:gd name="T47" fmla="*/ 431 h 655"/>
                <a:gd name="T48" fmla="*/ 619 w 621"/>
                <a:gd name="T49" fmla="*/ 512 h 655"/>
                <a:gd name="T50" fmla="*/ 577 w 621"/>
                <a:gd name="T51" fmla="*/ 583 h 655"/>
                <a:gd name="T52" fmla="*/ 564 w 621"/>
                <a:gd name="T53" fmla="*/ 614 h 655"/>
                <a:gd name="T54" fmla="*/ 366 w 621"/>
                <a:gd name="T55" fmla="*/ 231 h 655"/>
                <a:gd name="T56" fmla="*/ 359 w 621"/>
                <a:gd name="T57" fmla="*/ 233 h 655"/>
                <a:gd name="T58" fmla="*/ 440 w 621"/>
                <a:gd name="T59" fmla="*/ 205 h 655"/>
                <a:gd name="T60" fmla="*/ 438 w 621"/>
                <a:gd name="T61" fmla="*/ 209 h 655"/>
                <a:gd name="T62" fmla="*/ 263 w 621"/>
                <a:gd name="T63" fmla="*/ 164 h 655"/>
                <a:gd name="T64" fmla="*/ 205 w 621"/>
                <a:gd name="T65" fmla="*/ 288 h 655"/>
                <a:gd name="T66" fmla="*/ 195 w 621"/>
                <a:gd name="T67" fmla="*/ 258 h 655"/>
                <a:gd name="T68" fmla="*/ 144 w 621"/>
                <a:gd name="T69" fmla="*/ 229 h 655"/>
                <a:gd name="T70" fmla="*/ 90 w 621"/>
                <a:gd name="T71" fmla="*/ 216 h 655"/>
                <a:gd name="T72" fmla="*/ 15 w 621"/>
                <a:gd name="T73" fmla="*/ 186 h 655"/>
                <a:gd name="T74" fmla="*/ 39 w 621"/>
                <a:gd name="T75" fmla="*/ 154 h 655"/>
                <a:gd name="T76" fmla="*/ 120 w 621"/>
                <a:gd name="T77" fmla="*/ 105 h 655"/>
                <a:gd name="T78" fmla="*/ 178 w 621"/>
                <a:gd name="T79" fmla="*/ 85 h 655"/>
                <a:gd name="T80" fmla="*/ 135 w 621"/>
                <a:gd name="T81" fmla="*/ 145 h 655"/>
                <a:gd name="T82" fmla="*/ 154 w 621"/>
                <a:gd name="T83" fmla="*/ 137 h 655"/>
                <a:gd name="T84" fmla="*/ 208 w 621"/>
                <a:gd name="T85" fmla="*/ 160 h 655"/>
                <a:gd name="T86" fmla="*/ 257 w 621"/>
                <a:gd name="T87" fmla="*/ 175 h 655"/>
                <a:gd name="T88" fmla="*/ 319 w 621"/>
                <a:gd name="T89" fmla="*/ 143 h 655"/>
                <a:gd name="T90" fmla="*/ 383 w 621"/>
                <a:gd name="T91" fmla="*/ 160 h 655"/>
                <a:gd name="T92" fmla="*/ 425 w 621"/>
                <a:gd name="T93" fmla="*/ 152 h 655"/>
                <a:gd name="T94" fmla="*/ 472 w 621"/>
                <a:gd name="T95" fmla="*/ 186 h 655"/>
                <a:gd name="T96" fmla="*/ 478 w 621"/>
                <a:gd name="T97" fmla="*/ 205 h 655"/>
                <a:gd name="T98" fmla="*/ 451 w 621"/>
                <a:gd name="T99" fmla="*/ 205 h 655"/>
                <a:gd name="T100" fmla="*/ 423 w 621"/>
                <a:gd name="T101" fmla="*/ 201 h 655"/>
                <a:gd name="T102" fmla="*/ 383 w 621"/>
                <a:gd name="T103" fmla="*/ 205 h 655"/>
                <a:gd name="T104" fmla="*/ 325 w 621"/>
                <a:gd name="T105" fmla="*/ 220 h 655"/>
                <a:gd name="T106" fmla="*/ 284 w 621"/>
                <a:gd name="T107" fmla="*/ 248 h 655"/>
                <a:gd name="T108" fmla="*/ 282 w 621"/>
                <a:gd name="T109" fmla="*/ 229 h 655"/>
                <a:gd name="T110" fmla="*/ 252 w 621"/>
                <a:gd name="T111" fmla="*/ 243 h 655"/>
                <a:gd name="T112" fmla="*/ 235 w 621"/>
                <a:gd name="T113" fmla="*/ 269 h 655"/>
                <a:gd name="T114" fmla="*/ 105 w 621"/>
                <a:gd name="T115" fmla="*/ 34 h 655"/>
                <a:gd name="T116" fmla="*/ 124 w 621"/>
                <a:gd name="T117" fmla="*/ 11 h 655"/>
                <a:gd name="T118" fmla="*/ 82 w 621"/>
                <a:gd name="T119" fmla="*/ 47 h 655"/>
                <a:gd name="T120" fmla="*/ 112 w 621"/>
                <a:gd name="T121" fmla="*/ 13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1" h="655">
                  <a:moveTo>
                    <a:pt x="558" y="630"/>
                  </a:moveTo>
                  <a:lnTo>
                    <a:pt x="560" y="630"/>
                  </a:lnTo>
                  <a:lnTo>
                    <a:pt x="558" y="630"/>
                  </a:lnTo>
                  <a:close/>
                  <a:moveTo>
                    <a:pt x="530" y="416"/>
                  </a:moveTo>
                  <a:lnTo>
                    <a:pt x="532" y="416"/>
                  </a:lnTo>
                  <a:lnTo>
                    <a:pt x="532" y="418"/>
                  </a:lnTo>
                  <a:lnTo>
                    <a:pt x="530" y="418"/>
                  </a:lnTo>
                  <a:lnTo>
                    <a:pt x="530" y="416"/>
                  </a:lnTo>
                  <a:close/>
                  <a:moveTo>
                    <a:pt x="532" y="416"/>
                  </a:moveTo>
                  <a:lnTo>
                    <a:pt x="534" y="416"/>
                  </a:lnTo>
                  <a:lnTo>
                    <a:pt x="534" y="418"/>
                  </a:lnTo>
                  <a:lnTo>
                    <a:pt x="532" y="418"/>
                  </a:lnTo>
                  <a:lnTo>
                    <a:pt x="532" y="416"/>
                  </a:lnTo>
                  <a:close/>
                  <a:moveTo>
                    <a:pt x="530" y="414"/>
                  </a:moveTo>
                  <a:lnTo>
                    <a:pt x="532" y="412"/>
                  </a:lnTo>
                  <a:lnTo>
                    <a:pt x="532" y="416"/>
                  </a:lnTo>
                  <a:lnTo>
                    <a:pt x="530" y="414"/>
                  </a:lnTo>
                  <a:close/>
                  <a:moveTo>
                    <a:pt x="321" y="312"/>
                  </a:moveTo>
                  <a:lnTo>
                    <a:pt x="325" y="314"/>
                  </a:lnTo>
                  <a:lnTo>
                    <a:pt x="323" y="316"/>
                  </a:lnTo>
                  <a:lnTo>
                    <a:pt x="323" y="318"/>
                  </a:lnTo>
                  <a:lnTo>
                    <a:pt x="319" y="318"/>
                  </a:lnTo>
                  <a:lnTo>
                    <a:pt x="319" y="314"/>
                  </a:lnTo>
                  <a:lnTo>
                    <a:pt x="321" y="312"/>
                  </a:lnTo>
                  <a:close/>
                  <a:moveTo>
                    <a:pt x="532" y="290"/>
                  </a:moveTo>
                  <a:lnTo>
                    <a:pt x="534" y="290"/>
                  </a:lnTo>
                  <a:lnTo>
                    <a:pt x="534" y="292"/>
                  </a:lnTo>
                  <a:lnTo>
                    <a:pt x="532" y="292"/>
                  </a:lnTo>
                  <a:lnTo>
                    <a:pt x="532" y="290"/>
                  </a:lnTo>
                  <a:close/>
                  <a:moveTo>
                    <a:pt x="325" y="301"/>
                  </a:moveTo>
                  <a:lnTo>
                    <a:pt x="331" y="303"/>
                  </a:lnTo>
                  <a:lnTo>
                    <a:pt x="331" y="309"/>
                  </a:lnTo>
                  <a:lnTo>
                    <a:pt x="333" y="310"/>
                  </a:lnTo>
                  <a:lnTo>
                    <a:pt x="329" y="312"/>
                  </a:lnTo>
                  <a:lnTo>
                    <a:pt x="325" y="307"/>
                  </a:lnTo>
                  <a:lnTo>
                    <a:pt x="325" y="303"/>
                  </a:lnTo>
                  <a:lnTo>
                    <a:pt x="325" y="301"/>
                  </a:lnTo>
                  <a:close/>
                  <a:moveTo>
                    <a:pt x="338" y="278"/>
                  </a:moveTo>
                  <a:lnTo>
                    <a:pt x="335" y="271"/>
                  </a:lnTo>
                  <a:lnTo>
                    <a:pt x="338" y="273"/>
                  </a:lnTo>
                  <a:lnTo>
                    <a:pt x="338" y="278"/>
                  </a:lnTo>
                  <a:close/>
                  <a:moveTo>
                    <a:pt x="340" y="265"/>
                  </a:moveTo>
                  <a:lnTo>
                    <a:pt x="342" y="265"/>
                  </a:lnTo>
                  <a:lnTo>
                    <a:pt x="342" y="269"/>
                  </a:lnTo>
                  <a:lnTo>
                    <a:pt x="340" y="269"/>
                  </a:lnTo>
                  <a:lnTo>
                    <a:pt x="340" y="265"/>
                  </a:lnTo>
                  <a:close/>
                  <a:moveTo>
                    <a:pt x="269" y="271"/>
                  </a:moveTo>
                  <a:lnTo>
                    <a:pt x="271" y="271"/>
                  </a:lnTo>
                  <a:lnTo>
                    <a:pt x="271" y="273"/>
                  </a:lnTo>
                  <a:lnTo>
                    <a:pt x="269" y="273"/>
                  </a:lnTo>
                  <a:lnTo>
                    <a:pt x="269" y="271"/>
                  </a:lnTo>
                  <a:close/>
                  <a:moveTo>
                    <a:pt x="278" y="261"/>
                  </a:moveTo>
                  <a:lnTo>
                    <a:pt x="280" y="263"/>
                  </a:lnTo>
                  <a:lnTo>
                    <a:pt x="278" y="265"/>
                  </a:lnTo>
                  <a:lnTo>
                    <a:pt x="278" y="261"/>
                  </a:lnTo>
                  <a:close/>
                  <a:moveTo>
                    <a:pt x="274" y="260"/>
                  </a:moveTo>
                  <a:lnTo>
                    <a:pt x="276" y="260"/>
                  </a:lnTo>
                  <a:lnTo>
                    <a:pt x="276" y="261"/>
                  </a:lnTo>
                  <a:lnTo>
                    <a:pt x="274" y="261"/>
                  </a:lnTo>
                  <a:lnTo>
                    <a:pt x="274" y="260"/>
                  </a:lnTo>
                  <a:close/>
                  <a:moveTo>
                    <a:pt x="335" y="243"/>
                  </a:moveTo>
                  <a:lnTo>
                    <a:pt x="335" y="245"/>
                  </a:lnTo>
                  <a:lnTo>
                    <a:pt x="335" y="243"/>
                  </a:lnTo>
                  <a:close/>
                  <a:moveTo>
                    <a:pt x="346" y="239"/>
                  </a:moveTo>
                  <a:lnTo>
                    <a:pt x="348" y="239"/>
                  </a:lnTo>
                  <a:lnTo>
                    <a:pt x="346" y="245"/>
                  </a:lnTo>
                  <a:lnTo>
                    <a:pt x="344" y="239"/>
                  </a:lnTo>
                  <a:lnTo>
                    <a:pt x="346" y="239"/>
                  </a:lnTo>
                  <a:close/>
                  <a:moveTo>
                    <a:pt x="353" y="237"/>
                  </a:moveTo>
                  <a:lnTo>
                    <a:pt x="359" y="237"/>
                  </a:lnTo>
                  <a:lnTo>
                    <a:pt x="357" y="239"/>
                  </a:lnTo>
                  <a:lnTo>
                    <a:pt x="359" y="239"/>
                  </a:lnTo>
                  <a:lnTo>
                    <a:pt x="359" y="245"/>
                  </a:lnTo>
                  <a:lnTo>
                    <a:pt x="361" y="250"/>
                  </a:lnTo>
                  <a:lnTo>
                    <a:pt x="355" y="256"/>
                  </a:lnTo>
                  <a:lnTo>
                    <a:pt x="351" y="256"/>
                  </a:lnTo>
                  <a:lnTo>
                    <a:pt x="351" y="254"/>
                  </a:lnTo>
                  <a:lnTo>
                    <a:pt x="351" y="245"/>
                  </a:lnTo>
                  <a:lnTo>
                    <a:pt x="353" y="241"/>
                  </a:lnTo>
                  <a:lnTo>
                    <a:pt x="353" y="237"/>
                  </a:lnTo>
                  <a:close/>
                  <a:moveTo>
                    <a:pt x="558" y="630"/>
                  </a:moveTo>
                  <a:lnTo>
                    <a:pt x="553" y="632"/>
                  </a:lnTo>
                  <a:lnTo>
                    <a:pt x="543" y="634"/>
                  </a:lnTo>
                  <a:lnTo>
                    <a:pt x="541" y="634"/>
                  </a:lnTo>
                  <a:lnTo>
                    <a:pt x="536" y="634"/>
                  </a:lnTo>
                  <a:lnTo>
                    <a:pt x="528" y="636"/>
                  </a:lnTo>
                  <a:lnTo>
                    <a:pt x="521" y="638"/>
                  </a:lnTo>
                  <a:lnTo>
                    <a:pt x="515" y="638"/>
                  </a:lnTo>
                  <a:lnTo>
                    <a:pt x="513" y="638"/>
                  </a:lnTo>
                  <a:lnTo>
                    <a:pt x="511" y="638"/>
                  </a:lnTo>
                  <a:lnTo>
                    <a:pt x="504" y="640"/>
                  </a:lnTo>
                  <a:lnTo>
                    <a:pt x="500" y="640"/>
                  </a:lnTo>
                  <a:lnTo>
                    <a:pt x="491" y="642"/>
                  </a:lnTo>
                  <a:lnTo>
                    <a:pt x="483" y="644"/>
                  </a:lnTo>
                  <a:lnTo>
                    <a:pt x="479" y="644"/>
                  </a:lnTo>
                  <a:lnTo>
                    <a:pt x="474" y="644"/>
                  </a:lnTo>
                  <a:lnTo>
                    <a:pt x="472" y="644"/>
                  </a:lnTo>
                  <a:lnTo>
                    <a:pt x="464" y="646"/>
                  </a:lnTo>
                  <a:lnTo>
                    <a:pt x="457" y="646"/>
                  </a:lnTo>
                  <a:lnTo>
                    <a:pt x="457" y="640"/>
                  </a:lnTo>
                  <a:lnTo>
                    <a:pt x="449" y="640"/>
                  </a:lnTo>
                  <a:lnTo>
                    <a:pt x="446" y="642"/>
                  </a:lnTo>
                  <a:lnTo>
                    <a:pt x="444" y="642"/>
                  </a:lnTo>
                  <a:lnTo>
                    <a:pt x="440" y="642"/>
                  </a:lnTo>
                  <a:lnTo>
                    <a:pt x="438" y="642"/>
                  </a:lnTo>
                  <a:lnTo>
                    <a:pt x="430" y="642"/>
                  </a:lnTo>
                  <a:lnTo>
                    <a:pt x="421" y="644"/>
                  </a:lnTo>
                  <a:lnTo>
                    <a:pt x="419" y="644"/>
                  </a:lnTo>
                  <a:lnTo>
                    <a:pt x="417" y="644"/>
                  </a:lnTo>
                  <a:lnTo>
                    <a:pt x="410" y="644"/>
                  </a:lnTo>
                  <a:lnTo>
                    <a:pt x="406" y="646"/>
                  </a:lnTo>
                  <a:lnTo>
                    <a:pt x="400" y="646"/>
                  </a:lnTo>
                  <a:lnTo>
                    <a:pt x="395" y="646"/>
                  </a:lnTo>
                  <a:lnTo>
                    <a:pt x="385" y="647"/>
                  </a:lnTo>
                  <a:lnTo>
                    <a:pt x="382" y="647"/>
                  </a:lnTo>
                  <a:lnTo>
                    <a:pt x="376" y="647"/>
                  </a:lnTo>
                  <a:lnTo>
                    <a:pt x="368" y="649"/>
                  </a:lnTo>
                  <a:lnTo>
                    <a:pt x="363" y="649"/>
                  </a:lnTo>
                  <a:lnTo>
                    <a:pt x="357" y="649"/>
                  </a:lnTo>
                  <a:lnTo>
                    <a:pt x="353" y="649"/>
                  </a:lnTo>
                  <a:lnTo>
                    <a:pt x="344" y="651"/>
                  </a:lnTo>
                  <a:lnTo>
                    <a:pt x="342" y="651"/>
                  </a:lnTo>
                  <a:lnTo>
                    <a:pt x="338" y="651"/>
                  </a:lnTo>
                  <a:lnTo>
                    <a:pt x="331" y="653"/>
                  </a:lnTo>
                  <a:lnTo>
                    <a:pt x="327" y="653"/>
                  </a:lnTo>
                  <a:lnTo>
                    <a:pt x="319" y="653"/>
                  </a:lnTo>
                  <a:lnTo>
                    <a:pt x="310" y="653"/>
                  </a:lnTo>
                  <a:lnTo>
                    <a:pt x="303" y="655"/>
                  </a:lnTo>
                  <a:lnTo>
                    <a:pt x="308" y="651"/>
                  </a:lnTo>
                  <a:lnTo>
                    <a:pt x="312" y="646"/>
                  </a:lnTo>
                  <a:lnTo>
                    <a:pt x="316" y="640"/>
                  </a:lnTo>
                  <a:lnTo>
                    <a:pt x="318" y="636"/>
                  </a:lnTo>
                  <a:lnTo>
                    <a:pt x="321" y="629"/>
                  </a:lnTo>
                  <a:lnTo>
                    <a:pt x="323" y="621"/>
                  </a:lnTo>
                  <a:lnTo>
                    <a:pt x="323" y="619"/>
                  </a:lnTo>
                  <a:lnTo>
                    <a:pt x="325" y="615"/>
                  </a:lnTo>
                  <a:lnTo>
                    <a:pt x="327" y="614"/>
                  </a:lnTo>
                  <a:lnTo>
                    <a:pt x="329" y="608"/>
                  </a:lnTo>
                  <a:lnTo>
                    <a:pt x="331" y="606"/>
                  </a:lnTo>
                  <a:lnTo>
                    <a:pt x="333" y="600"/>
                  </a:lnTo>
                  <a:lnTo>
                    <a:pt x="335" y="595"/>
                  </a:lnTo>
                  <a:lnTo>
                    <a:pt x="336" y="589"/>
                  </a:lnTo>
                  <a:lnTo>
                    <a:pt x="336" y="585"/>
                  </a:lnTo>
                  <a:lnTo>
                    <a:pt x="338" y="580"/>
                  </a:lnTo>
                  <a:lnTo>
                    <a:pt x="338" y="576"/>
                  </a:lnTo>
                  <a:lnTo>
                    <a:pt x="338" y="568"/>
                  </a:lnTo>
                  <a:lnTo>
                    <a:pt x="340" y="565"/>
                  </a:lnTo>
                  <a:lnTo>
                    <a:pt x="338" y="561"/>
                  </a:lnTo>
                  <a:lnTo>
                    <a:pt x="340" y="551"/>
                  </a:lnTo>
                  <a:lnTo>
                    <a:pt x="338" y="546"/>
                  </a:lnTo>
                  <a:lnTo>
                    <a:pt x="338" y="538"/>
                  </a:lnTo>
                  <a:lnTo>
                    <a:pt x="338" y="536"/>
                  </a:lnTo>
                  <a:lnTo>
                    <a:pt x="336" y="527"/>
                  </a:lnTo>
                  <a:lnTo>
                    <a:pt x="335" y="521"/>
                  </a:lnTo>
                  <a:lnTo>
                    <a:pt x="333" y="516"/>
                  </a:lnTo>
                  <a:lnTo>
                    <a:pt x="329" y="508"/>
                  </a:lnTo>
                  <a:lnTo>
                    <a:pt x="325" y="501"/>
                  </a:lnTo>
                  <a:lnTo>
                    <a:pt x="323" y="501"/>
                  </a:lnTo>
                  <a:lnTo>
                    <a:pt x="319" y="493"/>
                  </a:lnTo>
                  <a:lnTo>
                    <a:pt x="316" y="487"/>
                  </a:lnTo>
                  <a:lnTo>
                    <a:pt x="316" y="485"/>
                  </a:lnTo>
                  <a:lnTo>
                    <a:pt x="314" y="482"/>
                  </a:lnTo>
                  <a:lnTo>
                    <a:pt x="312" y="474"/>
                  </a:lnTo>
                  <a:lnTo>
                    <a:pt x="312" y="472"/>
                  </a:lnTo>
                  <a:lnTo>
                    <a:pt x="306" y="465"/>
                  </a:lnTo>
                  <a:lnTo>
                    <a:pt x="306" y="461"/>
                  </a:lnTo>
                  <a:lnTo>
                    <a:pt x="306" y="455"/>
                  </a:lnTo>
                  <a:lnTo>
                    <a:pt x="310" y="450"/>
                  </a:lnTo>
                  <a:lnTo>
                    <a:pt x="312" y="446"/>
                  </a:lnTo>
                  <a:lnTo>
                    <a:pt x="312" y="440"/>
                  </a:lnTo>
                  <a:lnTo>
                    <a:pt x="310" y="433"/>
                  </a:lnTo>
                  <a:lnTo>
                    <a:pt x="310" y="431"/>
                  </a:lnTo>
                  <a:lnTo>
                    <a:pt x="308" y="425"/>
                  </a:lnTo>
                  <a:lnTo>
                    <a:pt x="304" y="420"/>
                  </a:lnTo>
                  <a:lnTo>
                    <a:pt x="303" y="418"/>
                  </a:lnTo>
                  <a:lnTo>
                    <a:pt x="304" y="416"/>
                  </a:lnTo>
                  <a:lnTo>
                    <a:pt x="310" y="408"/>
                  </a:lnTo>
                  <a:lnTo>
                    <a:pt x="312" y="401"/>
                  </a:lnTo>
                  <a:lnTo>
                    <a:pt x="314" y="397"/>
                  </a:lnTo>
                  <a:lnTo>
                    <a:pt x="314" y="395"/>
                  </a:lnTo>
                  <a:lnTo>
                    <a:pt x="316" y="391"/>
                  </a:lnTo>
                  <a:lnTo>
                    <a:pt x="318" y="386"/>
                  </a:lnTo>
                  <a:lnTo>
                    <a:pt x="319" y="378"/>
                  </a:lnTo>
                  <a:lnTo>
                    <a:pt x="318" y="373"/>
                  </a:lnTo>
                  <a:lnTo>
                    <a:pt x="319" y="363"/>
                  </a:lnTo>
                  <a:lnTo>
                    <a:pt x="319" y="359"/>
                  </a:lnTo>
                  <a:lnTo>
                    <a:pt x="316" y="354"/>
                  </a:lnTo>
                  <a:lnTo>
                    <a:pt x="316" y="350"/>
                  </a:lnTo>
                  <a:lnTo>
                    <a:pt x="321" y="346"/>
                  </a:lnTo>
                  <a:lnTo>
                    <a:pt x="327" y="344"/>
                  </a:lnTo>
                  <a:lnTo>
                    <a:pt x="327" y="341"/>
                  </a:lnTo>
                  <a:lnTo>
                    <a:pt x="327" y="339"/>
                  </a:lnTo>
                  <a:lnTo>
                    <a:pt x="327" y="337"/>
                  </a:lnTo>
                  <a:lnTo>
                    <a:pt x="327" y="327"/>
                  </a:lnTo>
                  <a:lnTo>
                    <a:pt x="333" y="327"/>
                  </a:lnTo>
                  <a:lnTo>
                    <a:pt x="336" y="320"/>
                  </a:lnTo>
                  <a:lnTo>
                    <a:pt x="340" y="322"/>
                  </a:lnTo>
                  <a:lnTo>
                    <a:pt x="346" y="322"/>
                  </a:lnTo>
                  <a:lnTo>
                    <a:pt x="348" y="318"/>
                  </a:lnTo>
                  <a:lnTo>
                    <a:pt x="346" y="314"/>
                  </a:lnTo>
                  <a:lnTo>
                    <a:pt x="350" y="310"/>
                  </a:lnTo>
                  <a:lnTo>
                    <a:pt x="353" y="305"/>
                  </a:lnTo>
                  <a:lnTo>
                    <a:pt x="353" y="303"/>
                  </a:lnTo>
                  <a:lnTo>
                    <a:pt x="357" y="295"/>
                  </a:lnTo>
                  <a:lnTo>
                    <a:pt x="359" y="295"/>
                  </a:lnTo>
                  <a:lnTo>
                    <a:pt x="361" y="292"/>
                  </a:lnTo>
                  <a:lnTo>
                    <a:pt x="363" y="295"/>
                  </a:lnTo>
                  <a:lnTo>
                    <a:pt x="361" y="297"/>
                  </a:lnTo>
                  <a:lnTo>
                    <a:pt x="361" y="301"/>
                  </a:lnTo>
                  <a:lnTo>
                    <a:pt x="359" y="299"/>
                  </a:lnTo>
                  <a:lnTo>
                    <a:pt x="357" y="301"/>
                  </a:lnTo>
                  <a:lnTo>
                    <a:pt x="361" y="309"/>
                  </a:lnTo>
                  <a:lnTo>
                    <a:pt x="359" y="312"/>
                  </a:lnTo>
                  <a:lnTo>
                    <a:pt x="357" y="318"/>
                  </a:lnTo>
                  <a:lnTo>
                    <a:pt x="361" y="316"/>
                  </a:lnTo>
                  <a:lnTo>
                    <a:pt x="361" y="322"/>
                  </a:lnTo>
                  <a:lnTo>
                    <a:pt x="359" y="324"/>
                  </a:lnTo>
                  <a:lnTo>
                    <a:pt x="357" y="331"/>
                  </a:lnTo>
                  <a:lnTo>
                    <a:pt x="359" y="339"/>
                  </a:lnTo>
                  <a:lnTo>
                    <a:pt x="363" y="339"/>
                  </a:lnTo>
                  <a:lnTo>
                    <a:pt x="363" y="333"/>
                  </a:lnTo>
                  <a:lnTo>
                    <a:pt x="366" y="325"/>
                  </a:lnTo>
                  <a:lnTo>
                    <a:pt x="363" y="325"/>
                  </a:lnTo>
                  <a:lnTo>
                    <a:pt x="365" y="322"/>
                  </a:lnTo>
                  <a:lnTo>
                    <a:pt x="366" y="316"/>
                  </a:lnTo>
                  <a:lnTo>
                    <a:pt x="368" y="314"/>
                  </a:lnTo>
                  <a:lnTo>
                    <a:pt x="370" y="318"/>
                  </a:lnTo>
                  <a:lnTo>
                    <a:pt x="368" y="318"/>
                  </a:lnTo>
                  <a:lnTo>
                    <a:pt x="368" y="324"/>
                  </a:lnTo>
                  <a:lnTo>
                    <a:pt x="368" y="329"/>
                  </a:lnTo>
                  <a:lnTo>
                    <a:pt x="365" y="333"/>
                  </a:lnTo>
                  <a:lnTo>
                    <a:pt x="365" y="339"/>
                  </a:lnTo>
                  <a:lnTo>
                    <a:pt x="368" y="341"/>
                  </a:lnTo>
                  <a:lnTo>
                    <a:pt x="370" y="337"/>
                  </a:lnTo>
                  <a:lnTo>
                    <a:pt x="368" y="335"/>
                  </a:lnTo>
                  <a:lnTo>
                    <a:pt x="372" y="331"/>
                  </a:lnTo>
                  <a:lnTo>
                    <a:pt x="372" y="327"/>
                  </a:lnTo>
                  <a:lnTo>
                    <a:pt x="374" y="327"/>
                  </a:lnTo>
                  <a:lnTo>
                    <a:pt x="376" y="320"/>
                  </a:lnTo>
                  <a:lnTo>
                    <a:pt x="376" y="312"/>
                  </a:lnTo>
                  <a:lnTo>
                    <a:pt x="376" y="309"/>
                  </a:lnTo>
                  <a:lnTo>
                    <a:pt x="376" y="301"/>
                  </a:lnTo>
                  <a:lnTo>
                    <a:pt x="374" y="297"/>
                  </a:lnTo>
                  <a:lnTo>
                    <a:pt x="372" y="290"/>
                  </a:lnTo>
                  <a:lnTo>
                    <a:pt x="374" y="284"/>
                  </a:lnTo>
                  <a:lnTo>
                    <a:pt x="378" y="278"/>
                  </a:lnTo>
                  <a:lnTo>
                    <a:pt x="380" y="280"/>
                  </a:lnTo>
                  <a:lnTo>
                    <a:pt x="383" y="275"/>
                  </a:lnTo>
                  <a:lnTo>
                    <a:pt x="389" y="273"/>
                  </a:lnTo>
                  <a:lnTo>
                    <a:pt x="397" y="273"/>
                  </a:lnTo>
                  <a:lnTo>
                    <a:pt x="400" y="273"/>
                  </a:lnTo>
                  <a:lnTo>
                    <a:pt x="404" y="269"/>
                  </a:lnTo>
                  <a:lnTo>
                    <a:pt x="404" y="265"/>
                  </a:lnTo>
                  <a:lnTo>
                    <a:pt x="398" y="265"/>
                  </a:lnTo>
                  <a:lnTo>
                    <a:pt x="400" y="267"/>
                  </a:lnTo>
                  <a:lnTo>
                    <a:pt x="395" y="265"/>
                  </a:lnTo>
                  <a:lnTo>
                    <a:pt x="391" y="261"/>
                  </a:lnTo>
                  <a:lnTo>
                    <a:pt x="389" y="256"/>
                  </a:lnTo>
                  <a:lnTo>
                    <a:pt x="387" y="252"/>
                  </a:lnTo>
                  <a:lnTo>
                    <a:pt x="391" y="246"/>
                  </a:lnTo>
                  <a:lnTo>
                    <a:pt x="395" y="243"/>
                  </a:lnTo>
                  <a:lnTo>
                    <a:pt x="398" y="235"/>
                  </a:lnTo>
                  <a:lnTo>
                    <a:pt x="395" y="233"/>
                  </a:lnTo>
                  <a:lnTo>
                    <a:pt x="389" y="231"/>
                  </a:lnTo>
                  <a:lnTo>
                    <a:pt x="391" y="231"/>
                  </a:lnTo>
                  <a:lnTo>
                    <a:pt x="398" y="231"/>
                  </a:lnTo>
                  <a:lnTo>
                    <a:pt x="400" y="233"/>
                  </a:lnTo>
                  <a:lnTo>
                    <a:pt x="402" y="231"/>
                  </a:lnTo>
                  <a:lnTo>
                    <a:pt x="406" y="233"/>
                  </a:lnTo>
                  <a:lnTo>
                    <a:pt x="406" y="231"/>
                  </a:lnTo>
                  <a:lnTo>
                    <a:pt x="410" y="231"/>
                  </a:lnTo>
                  <a:lnTo>
                    <a:pt x="408" y="229"/>
                  </a:lnTo>
                  <a:lnTo>
                    <a:pt x="410" y="228"/>
                  </a:lnTo>
                  <a:lnTo>
                    <a:pt x="414" y="228"/>
                  </a:lnTo>
                  <a:lnTo>
                    <a:pt x="414" y="229"/>
                  </a:lnTo>
                  <a:lnTo>
                    <a:pt x="417" y="229"/>
                  </a:lnTo>
                  <a:lnTo>
                    <a:pt x="425" y="233"/>
                  </a:lnTo>
                  <a:lnTo>
                    <a:pt x="427" y="233"/>
                  </a:lnTo>
                  <a:lnTo>
                    <a:pt x="432" y="239"/>
                  </a:lnTo>
                  <a:lnTo>
                    <a:pt x="436" y="239"/>
                  </a:lnTo>
                  <a:lnTo>
                    <a:pt x="436" y="237"/>
                  </a:lnTo>
                  <a:lnTo>
                    <a:pt x="440" y="239"/>
                  </a:lnTo>
                  <a:lnTo>
                    <a:pt x="444" y="237"/>
                  </a:lnTo>
                  <a:lnTo>
                    <a:pt x="451" y="239"/>
                  </a:lnTo>
                  <a:lnTo>
                    <a:pt x="459" y="245"/>
                  </a:lnTo>
                  <a:lnTo>
                    <a:pt x="461" y="250"/>
                  </a:lnTo>
                  <a:lnTo>
                    <a:pt x="462" y="252"/>
                  </a:lnTo>
                  <a:lnTo>
                    <a:pt x="466" y="252"/>
                  </a:lnTo>
                  <a:lnTo>
                    <a:pt x="474" y="250"/>
                  </a:lnTo>
                  <a:lnTo>
                    <a:pt x="476" y="252"/>
                  </a:lnTo>
                  <a:lnTo>
                    <a:pt x="479" y="256"/>
                  </a:lnTo>
                  <a:lnTo>
                    <a:pt x="483" y="258"/>
                  </a:lnTo>
                  <a:lnTo>
                    <a:pt x="487" y="258"/>
                  </a:lnTo>
                  <a:lnTo>
                    <a:pt x="485" y="258"/>
                  </a:lnTo>
                  <a:lnTo>
                    <a:pt x="489" y="258"/>
                  </a:lnTo>
                  <a:lnTo>
                    <a:pt x="491" y="258"/>
                  </a:lnTo>
                  <a:lnTo>
                    <a:pt x="493" y="258"/>
                  </a:lnTo>
                  <a:lnTo>
                    <a:pt x="500" y="261"/>
                  </a:lnTo>
                  <a:lnTo>
                    <a:pt x="504" y="261"/>
                  </a:lnTo>
                  <a:lnTo>
                    <a:pt x="508" y="263"/>
                  </a:lnTo>
                  <a:lnTo>
                    <a:pt x="508" y="261"/>
                  </a:lnTo>
                  <a:lnTo>
                    <a:pt x="508" y="263"/>
                  </a:lnTo>
                  <a:lnTo>
                    <a:pt x="510" y="263"/>
                  </a:lnTo>
                  <a:lnTo>
                    <a:pt x="517" y="269"/>
                  </a:lnTo>
                  <a:lnTo>
                    <a:pt x="515" y="271"/>
                  </a:lnTo>
                  <a:lnTo>
                    <a:pt x="513" y="271"/>
                  </a:lnTo>
                  <a:lnTo>
                    <a:pt x="515" y="273"/>
                  </a:lnTo>
                  <a:lnTo>
                    <a:pt x="519" y="278"/>
                  </a:lnTo>
                  <a:lnTo>
                    <a:pt x="523" y="280"/>
                  </a:lnTo>
                  <a:lnTo>
                    <a:pt x="525" y="286"/>
                  </a:lnTo>
                  <a:lnTo>
                    <a:pt x="525" y="288"/>
                  </a:lnTo>
                  <a:lnTo>
                    <a:pt x="525" y="290"/>
                  </a:lnTo>
                  <a:lnTo>
                    <a:pt x="526" y="288"/>
                  </a:lnTo>
                  <a:lnTo>
                    <a:pt x="526" y="290"/>
                  </a:lnTo>
                  <a:lnTo>
                    <a:pt x="525" y="290"/>
                  </a:lnTo>
                  <a:lnTo>
                    <a:pt x="528" y="293"/>
                  </a:lnTo>
                  <a:lnTo>
                    <a:pt x="523" y="292"/>
                  </a:lnTo>
                  <a:lnTo>
                    <a:pt x="519" y="288"/>
                  </a:lnTo>
                  <a:lnTo>
                    <a:pt x="515" y="292"/>
                  </a:lnTo>
                  <a:lnTo>
                    <a:pt x="515" y="295"/>
                  </a:lnTo>
                  <a:lnTo>
                    <a:pt x="517" y="295"/>
                  </a:lnTo>
                  <a:lnTo>
                    <a:pt x="515" y="297"/>
                  </a:lnTo>
                  <a:lnTo>
                    <a:pt x="517" y="305"/>
                  </a:lnTo>
                  <a:lnTo>
                    <a:pt x="523" y="307"/>
                  </a:lnTo>
                  <a:lnTo>
                    <a:pt x="526" y="309"/>
                  </a:lnTo>
                  <a:lnTo>
                    <a:pt x="526" y="310"/>
                  </a:lnTo>
                  <a:lnTo>
                    <a:pt x="530" y="314"/>
                  </a:lnTo>
                  <a:lnTo>
                    <a:pt x="530" y="322"/>
                  </a:lnTo>
                  <a:lnTo>
                    <a:pt x="532" y="324"/>
                  </a:lnTo>
                  <a:lnTo>
                    <a:pt x="532" y="331"/>
                  </a:lnTo>
                  <a:lnTo>
                    <a:pt x="530" y="335"/>
                  </a:lnTo>
                  <a:lnTo>
                    <a:pt x="532" y="342"/>
                  </a:lnTo>
                  <a:lnTo>
                    <a:pt x="532" y="346"/>
                  </a:lnTo>
                  <a:lnTo>
                    <a:pt x="532" y="354"/>
                  </a:lnTo>
                  <a:lnTo>
                    <a:pt x="534" y="356"/>
                  </a:lnTo>
                  <a:lnTo>
                    <a:pt x="534" y="363"/>
                  </a:lnTo>
                  <a:lnTo>
                    <a:pt x="530" y="365"/>
                  </a:lnTo>
                  <a:lnTo>
                    <a:pt x="526" y="373"/>
                  </a:lnTo>
                  <a:lnTo>
                    <a:pt x="525" y="374"/>
                  </a:lnTo>
                  <a:lnTo>
                    <a:pt x="526" y="371"/>
                  </a:lnTo>
                  <a:lnTo>
                    <a:pt x="523" y="371"/>
                  </a:lnTo>
                  <a:lnTo>
                    <a:pt x="519" y="374"/>
                  </a:lnTo>
                  <a:lnTo>
                    <a:pt x="519" y="376"/>
                  </a:lnTo>
                  <a:lnTo>
                    <a:pt x="519" y="384"/>
                  </a:lnTo>
                  <a:lnTo>
                    <a:pt x="519" y="389"/>
                  </a:lnTo>
                  <a:lnTo>
                    <a:pt x="517" y="391"/>
                  </a:lnTo>
                  <a:lnTo>
                    <a:pt x="519" y="395"/>
                  </a:lnTo>
                  <a:lnTo>
                    <a:pt x="515" y="395"/>
                  </a:lnTo>
                  <a:lnTo>
                    <a:pt x="513" y="397"/>
                  </a:lnTo>
                  <a:lnTo>
                    <a:pt x="513" y="399"/>
                  </a:lnTo>
                  <a:lnTo>
                    <a:pt x="511" y="399"/>
                  </a:lnTo>
                  <a:lnTo>
                    <a:pt x="513" y="403"/>
                  </a:lnTo>
                  <a:lnTo>
                    <a:pt x="508" y="401"/>
                  </a:lnTo>
                  <a:lnTo>
                    <a:pt x="506" y="403"/>
                  </a:lnTo>
                  <a:lnTo>
                    <a:pt x="502" y="403"/>
                  </a:lnTo>
                  <a:lnTo>
                    <a:pt x="498" y="406"/>
                  </a:lnTo>
                  <a:lnTo>
                    <a:pt x="496" y="414"/>
                  </a:lnTo>
                  <a:lnTo>
                    <a:pt x="498" y="421"/>
                  </a:lnTo>
                  <a:lnTo>
                    <a:pt x="496" y="425"/>
                  </a:lnTo>
                  <a:lnTo>
                    <a:pt x="496" y="427"/>
                  </a:lnTo>
                  <a:lnTo>
                    <a:pt x="494" y="427"/>
                  </a:lnTo>
                  <a:lnTo>
                    <a:pt x="496" y="433"/>
                  </a:lnTo>
                  <a:lnTo>
                    <a:pt x="500" y="437"/>
                  </a:lnTo>
                  <a:lnTo>
                    <a:pt x="504" y="438"/>
                  </a:lnTo>
                  <a:lnTo>
                    <a:pt x="506" y="437"/>
                  </a:lnTo>
                  <a:lnTo>
                    <a:pt x="508" y="438"/>
                  </a:lnTo>
                  <a:lnTo>
                    <a:pt x="513" y="440"/>
                  </a:lnTo>
                  <a:lnTo>
                    <a:pt x="517" y="444"/>
                  </a:lnTo>
                  <a:lnTo>
                    <a:pt x="519" y="442"/>
                  </a:lnTo>
                  <a:lnTo>
                    <a:pt x="523" y="437"/>
                  </a:lnTo>
                  <a:lnTo>
                    <a:pt x="525" y="433"/>
                  </a:lnTo>
                  <a:lnTo>
                    <a:pt x="526" y="433"/>
                  </a:lnTo>
                  <a:lnTo>
                    <a:pt x="526" y="431"/>
                  </a:lnTo>
                  <a:lnTo>
                    <a:pt x="528" y="429"/>
                  </a:lnTo>
                  <a:lnTo>
                    <a:pt x="528" y="431"/>
                  </a:lnTo>
                  <a:lnTo>
                    <a:pt x="530" y="431"/>
                  </a:lnTo>
                  <a:lnTo>
                    <a:pt x="532" y="427"/>
                  </a:lnTo>
                  <a:lnTo>
                    <a:pt x="530" y="425"/>
                  </a:lnTo>
                  <a:lnTo>
                    <a:pt x="532" y="425"/>
                  </a:lnTo>
                  <a:lnTo>
                    <a:pt x="534" y="420"/>
                  </a:lnTo>
                  <a:lnTo>
                    <a:pt x="536" y="418"/>
                  </a:lnTo>
                  <a:lnTo>
                    <a:pt x="536" y="414"/>
                  </a:lnTo>
                  <a:lnTo>
                    <a:pt x="540" y="410"/>
                  </a:lnTo>
                  <a:lnTo>
                    <a:pt x="540" y="408"/>
                  </a:lnTo>
                  <a:lnTo>
                    <a:pt x="534" y="406"/>
                  </a:lnTo>
                  <a:lnTo>
                    <a:pt x="541" y="406"/>
                  </a:lnTo>
                  <a:lnTo>
                    <a:pt x="543" y="399"/>
                  </a:lnTo>
                  <a:lnTo>
                    <a:pt x="549" y="399"/>
                  </a:lnTo>
                  <a:lnTo>
                    <a:pt x="555" y="395"/>
                  </a:lnTo>
                  <a:lnTo>
                    <a:pt x="558" y="395"/>
                  </a:lnTo>
                  <a:lnTo>
                    <a:pt x="557" y="395"/>
                  </a:lnTo>
                  <a:lnTo>
                    <a:pt x="560" y="389"/>
                  </a:lnTo>
                  <a:lnTo>
                    <a:pt x="562" y="389"/>
                  </a:lnTo>
                  <a:lnTo>
                    <a:pt x="564" y="388"/>
                  </a:lnTo>
                  <a:lnTo>
                    <a:pt x="568" y="388"/>
                  </a:lnTo>
                  <a:lnTo>
                    <a:pt x="570" y="389"/>
                  </a:lnTo>
                  <a:lnTo>
                    <a:pt x="575" y="389"/>
                  </a:lnTo>
                  <a:lnTo>
                    <a:pt x="581" y="393"/>
                  </a:lnTo>
                  <a:lnTo>
                    <a:pt x="583" y="397"/>
                  </a:lnTo>
                  <a:lnTo>
                    <a:pt x="587" y="401"/>
                  </a:lnTo>
                  <a:lnTo>
                    <a:pt x="587" y="405"/>
                  </a:lnTo>
                  <a:lnTo>
                    <a:pt x="590" y="406"/>
                  </a:lnTo>
                  <a:lnTo>
                    <a:pt x="594" y="414"/>
                  </a:lnTo>
                  <a:lnTo>
                    <a:pt x="594" y="416"/>
                  </a:lnTo>
                  <a:lnTo>
                    <a:pt x="596" y="420"/>
                  </a:lnTo>
                  <a:lnTo>
                    <a:pt x="594" y="420"/>
                  </a:lnTo>
                  <a:lnTo>
                    <a:pt x="596" y="421"/>
                  </a:lnTo>
                  <a:lnTo>
                    <a:pt x="598" y="431"/>
                  </a:lnTo>
                  <a:lnTo>
                    <a:pt x="598" y="433"/>
                  </a:lnTo>
                  <a:lnTo>
                    <a:pt x="600" y="437"/>
                  </a:lnTo>
                  <a:lnTo>
                    <a:pt x="602" y="442"/>
                  </a:lnTo>
                  <a:lnTo>
                    <a:pt x="605" y="448"/>
                  </a:lnTo>
                  <a:lnTo>
                    <a:pt x="605" y="457"/>
                  </a:lnTo>
                  <a:lnTo>
                    <a:pt x="607" y="459"/>
                  </a:lnTo>
                  <a:lnTo>
                    <a:pt x="607" y="461"/>
                  </a:lnTo>
                  <a:lnTo>
                    <a:pt x="609" y="469"/>
                  </a:lnTo>
                  <a:lnTo>
                    <a:pt x="611" y="472"/>
                  </a:lnTo>
                  <a:lnTo>
                    <a:pt x="613" y="482"/>
                  </a:lnTo>
                  <a:lnTo>
                    <a:pt x="615" y="484"/>
                  </a:lnTo>
                  <a:lnTo>
                    <a:pt x="617" y="487"/>
                  </a:lnTo>
                  <a:lnTo>
                    <a:pt x="621" y="491"/>
                  </a:lnTo>
                  <a:lnTo>
                    <a:pt x="621" y="493"/>
                  </a:lnTo>
                  <a:lnTo>
                    <a:pt x="619" y="499"/>
                  </a:lnTo>
                  <a:lnTo>
                    <a:pt x="619" y="502"/>
                  </a:lnTo>
                  <a:lnTo>
                    <a:pt x="619" y="512"/>
                  </a:lnTo>
                  <a:lnTo>
                    <a:pt x="621" y="516"/>
                  </a:lnTo>
                  <a:lnTo>
                    <a:pt x="619" y="519"/>
                  </a:lnTo>
                  <a:lnTo>
                    <a:pt x="619" y="527"/>
                  </a:lnTo>
                  <a:lnTo>
                    <a:pt x="619" y="533"/>
                  </a:lnTo>
                  <a:lnTo>
                    <a:pt x="613" y="538"/>
                  </a:lnTo>
                  <a:lnTo>
                    <a:pt x="611" y="538"/>
                  </a:lnTo>
                  <a:lnTo>
                    <a:pt x="609" y="540"/>
                  </a:lnTo>
                  <a:lnTo>
                    <a:pt x="607" y="542"/>
                  </a:lnTo>
                  <a:lnTo>
                    <a:pt x="605" y="546"/>
                  </a:lnTo>
                  <a:lnTo>
                    <a:pt x="600" y="557"/>
                  </a:lnTo>
                  <a:lnTo>
                    <a:pt x="598" y="559"/>
                  </a:lnTo>
                  <a:lnTo>
                    <a:pt x="590" y="563"/>
                  </a:lnTo>
                  <a:lnTo>
                    <a:pt x="587" y="565"/>
                  </a:lnTo>
                  <a:lnTo>
                    <a:pt x="585" y="566"/>
                  </a:lnTo>
                  <a:lnTo>
                    <a:pt x="581" y="568"/>
                  </a:lnTo>
                  <a:lnTo>
                    <a:pt x="577" y="576"/>
                  </a:lnTo>
                  <a:lnTo>
                    <a:pt x="577" y="583"/>
                  </a:lnTo>
                  <a:lnTo>
                    <a:pt x="579" y="587"/>
                  </a:lnTo>
                  <a:lnTo>
                    <a:pt x="579" y="597"/>
                  </a:lnTo>
                  <a:lnTo>
                    <a:pt x="575" y="597"/>
                  </a:lnTo>
                  <a:lnTo>
                    <a:pt x="573" y="595"/>
                  </a:lnTo>
                  <a:lnTo>
                    <a:pt x="573" y="597"/>
                  </a:lnTo>
                  <a:lnTo>
                    <a:pt x="577" y="598"/>
                  </a:lnTo>
                  <a:lnTo>
                    <a:pt x="575" y="600"/>
                  </a:lnTo>
                  <a:lnTo>
                    <a:pt x="575" y="597"/>
                  </a:lnTo>
                  <a:lnTo>
                    <a:pt x="573" y="602"/>
                  </a:lnTo>
                  <a:lnTo>
                    <a:pt x="575" y="602"/>
                  </a:lnTo>
                  <a:lnTo>
                    <a:pt x="573" y="602"/>
                  </a:lnTo>
                  <a:lnTo>
                    <a:pt x="572" y="608"/>
                  </a:lnTo>
                  <a:lnTo>
                    <a:pt x="570" y="608"/>
                  </a:lnTo>
                  <a:lnTo>
                    <a:pt x="568" y="608"/>
                  </a:lnTo>
                  <a:lnTo>
                    <a:pt x="566" y="615"/>
                  </a:lnTo>
                  <a:lnTo>
                    <a:pt x="566" y="614"/>
                  </a:lnTo>
                  <a:lnTo>
                    <a:pt x="564" y="614"/>
                  </a:lnTo>
                  <a:lnTo>
                    <a:pt x="566" y="615"/>
                  </a:lnTo>
                  <a:lnTo>
                    <a:pt x="564" y="615"/>
                  </a:lnTo>
                  <a:lnTo>
                    <a:pt x="560" y="623"/>
                  </a:lnTo>
                  <a:lnTo>
                    <a:pt x="562" y="630"/>
                  </a:lnTo>
                  <a:lnTo>
                    <a:pt x="560" y="625"/>
                  </a:lnTo>
                  <a:lnTo>
                    <a:pt x="558" y="627"/>
                  </a:lnTo>
                  <a:lnTo>
                    <a:pt x="560" y="629"/>
                  </a:lnTo>
                  <a:lnTo>
                    <a:pt x="558" y="629"/>
                  </a:lnTo>
                  <a:lnTo>
                    <a:pt x="558" y="630"/>
                  </a:lnTo>
                  <a:close/>
                  <a:moveTo>
                    <a:pt x="366" y="229"/>
                  </a:moveTo>
                  <a:lnTo>
                    <a:pt x="368" y="231"/>
                  </a:lnTo>
                  <a:lnTo>
                    <a:pt x="368" y="233"/>
                  </a:lnTo>
                  <a:lnTo>
                    <a:pt x="366" y="235"/>
                  </a:lnTo>
                  <a:lnTo>
                    <a:pt x="363" y="233"/>
                  </a:lnTo>
                  <a:lnTo>
                    <a:pt x="365" y="233"/>
                  </a:lnTo>
                  <a:lnTo>
                    <a:pt x="366" y="233"/>
                  </a:lnTo>
                  <a:lnTo>
                    <a:pt x="366" y="231"/>
                  </a:lnTo>
                  <a:lnTo>
                    <a:pt x="366" y="229"/>
                  </a:lnTo>
                  <a:close/>
                  <a:moveTo>
                    <a:pt x="425" y="224"/>
                  </a:moveTo>
                  <a:lnTo>
                    <a:pt x="429" y="224"/>
                  </a:lnTo>
                  <a:lnTo>
                    <a:pt x="434" y="226"/>
                  </a:lnTo>
                  <a:lnTo>
                    <a:pt x="434" y="222"/>
                  </a:lnTo>
                  <a:lnTo>
                    <a:pt x="436" y="226"/>
                  </a:lnTo>
                  <a:lnTo>
                    <a:pt x="440" y="226"/>
                  </a:lnTo>
                  <a:lnTo>
                    <a:pt x="436" y="231"/>
                  </a:lnTo>
                  <a:lnTo>
                    <a:pt x="430" y="231"/>
                  </a:lnTo>
                  <a:lnTo>
                    <a:pt x="425" y="226"/>
                  </a:lnTo>
                  <a:lnTo>
                    <a:pt x="423" y="224"/>
                  </a:lnTo>
                  <a:lnTo>
                    <a:pt x="425" y="224"/>
                  </a:lnTo>
                  <a:close/>
                  <a:moveTo>
                    <a:pt x="355" y="229"/>
                  </a:moveTo>
                  <a:lnTo>
                    <a:pt x="361" y="231"/>
                  </a:lnTo>
                  <a:lnTo>
                    <a:pt x="361" y="233"/>
                  </a:lnTo>
                  <a:lnTo>
                    <a:pt x="357" y="235"/>
                  </a:lnTo>
                  <a:lnTo>
                    <a:pt x="359" y="233"/>
                  </a:lnTo>
                  <a:lnTo>
                    <a:pt x="357" y="231"/>
                  </a:lnTo>
                  <a:lnTo>
                    <a:pt x="355" y="231"/>
                  </a:lnTo>
                  <a:lnTo>
                    <a:pt x="357" y="231"/>
                  </a:lnTo>
                  <a:lnTo>
                    <a:pt x="355" y="229"/>
                  </a:lnTo>
                  <a:close/>
                  <a:moveTo>
                    <a:pt x="421" y="222"/>
                  </a:moveTo>
                  <a:lnTo>
                    <a:pt x="423" y="222"/>
                  </a:lnTo>
                  <a:lnTo>
                    <a:pt x="421" y="224"/>
                  </a:lnTo>
                  <a:lnTo>
                    <a:pt x="421" y="222"/>
                  </a:lnTo>
                  <a:close/>
                  <a:moveTo>
                    <a:pt x="421" y="220"/>
                  </a:moveTo>
                  <a:lnTo>
                    <a:pt x="417" y="220"/>
                  </a:lnTo>
                  <a:lnTo>
                    <a:pt x="417" y="216"/>
                  </a:lnTo>
                  <a:lnTo>
                    <a:pt x="421" y="220"/>
                  </a:lnTo>
                  <a:close/>
                  <a:moveTo>
                    <a:pt x="440" y="205"/>
                  </a:moveTo>
                  <a:lnTo>
                    <a:pt x="442" y="205"/>
                  </a:lnTo>
                  <a:lnTo>
                    <a:pt x="442" y="207"/>
                  </a:lnTo>
                  <a:lnTo>
                    <a:pt x="440" y="207"/>
                  </a:lnTo>
                  <a:lnTo>
                    <a:pt x="440" y="205"/>
                  </a:lnTo>
                  <a:close/>
                  <a:moveTo>
                    <a:pt x="442" y="205"/>
                  </a:moveTo>
                  <a:lnTo>
                    <a:pt x="442" y="207"/>
                  </a:lnTo>
                  <a:lnTo>
                    <a:pt x="442" y="205"/>
                  </a:lnTo>
                  <a:close/>
                  <a:moveTo>
                    <a:pt x="417" y="207"/>
                  </a:moveTo>
                  <a:lnTo>
                    <a:pt x="419" y="207"/>
                  </a:lnTo>
                  <a:lnTo>
                    <a:pt x="419" y="209"/>
                  </a:lnTo>
                  <a:lnTo>
                    <a:pt x="417" y="209"/>
                  </a:lnTo>
                  <a:lnTo>
                    <a:pt x="417" y="207"/>
                  </a:lnTo>
                  <a:close/>
                  <a:moveTo>
                    <a:pt x="438" y="203"/>
                  </a:moveTo>
                  <a:lnTo>
                    <a:pt x="440" y="205"/>
                  </a:lnTo>
                  <a:lnTo>
                    <a:pt x="440" y="207"/>
                  </a:lnTo>
                  <a:lnTo>
                    <a:pt x="438" y="203"/>
                  </a:lnTo>
                  <a:close/>
                  <a:moveTo>
                    <a:pt x="432" y="203"/>
                  </a:moveTo>
                  <a:lnTo>
                    <a:pt x="434" y="205"/>
                  </a:lnTo>
                  <a:lnTo>
                    <a:pt x="436" y="205"/>
                  </a:lnTo>
                  <a:lnTo>
                    <a:pt x="434" y="207"/>
                  </a:lnTo>
                  <a:lnTo>
                    <a:pt x="438" y="209"/>
                  </a:lnTo>
                  <a:lnTo>
                    <a:pt x="434" y="209"/>
                  </a:lnTo>
                  <a:lnTo>
                    <a:pt x="436" y="211"/>
                  </a:lnTo>
                  <a:lnTo>
                    <a:pt x="432" y="207"/>
                  </a:lnTo>
                  <a:lnTo>
                    <a:pt x="432" y="205"/>
                  </a:lnTo>
                  <a:lnTo>
                    <a:pt x="432" y="203"/>
                  </a:lnTo>
                  <a:close/>
                  <a:moveTo>
                    <a:pt x="265" y="162"/>
                  </a:moveTo>
                  <a:lnTo>
                    <a:pt x="267" y="162"/>
                  </a:lnTo>
                  <a:lnTo>
                    <a:pt x="269" y="165"/>
                  </a:lnTo>
                  <a:lnTo>
                    <a:pt x="269" y="169"/>
                  </a:lnTo>
                  <a:lnTo>
                    <a:pt x="271" y="171"/>
                  </a:lnTo>
                  <a:lnTo>
                    <a:pt x="271" y="169"/>
                  </a:lnTo>
                  <a:lnTo>
                    <a:pt x="271" y="171"/>
                  </a:lnTo>
                  <a:lnTo>
                    <a:pt x="271" y="173"/>
                  </a:lnTo>
                  <a:lnTo>
                    <a:pt x="269" y="171"/>
                  </a:lnTo>
                  <a:lnTo>
                    <a:pt x="267" y="173"/>
                  </a:lnTo>
                  <a:lnTo>
                    <a:pt x="265" y="169"/>
                  </a:lnTo>
                  <a:lnTo>
                    <a:pt x="263" y="164"/>
                  </a:lnTo>
                  <a:lnTo>
                    <a:pt x="265" y="162"/>
                  </a:lnTo>
                  <a:close/>
                  <a:moveTo>
                    <a:pt x="192" y="81"/>
                  </a:moveTo>
                  <a:lnTo>
                    <a:pt x="193" y="81"/>
                  </a:lnTo>
                  <a:lnTo>
                    <a:pt x="192" y="81"/>
                  </a:lnTo>
                  <a:lnTo>
                    <a:pt x="188" y="81"/>
                  </a:lnTo>
                  <a:lnTo>
                    <a:pt x="192" y="81"/>
                  </a:lnTo>
                  <a:close/>
                  <a:moveTo>
                    <a:pt x="214" y="318"/>
                  </a:moveTo>
                  <a:lnTo>
                    <a:pt x="208" y="316"/>
                  </a:lnTo>
                  <a:lnTo>
                    <a:pt x="207" y="312"/>
                  </a:lnTo>
                  <a:lnTo>
                    <a:pt x="203" y="310"/>
                  </a:lnTo>
                  <a:lnTo>
                    <a:pt x="203" y="309"/>
                  </a:lnTo>
                  <a:lnTo>
                    <a:pt x="203" y="307"/>
                  </a:lnTo>
                  <a:lnTo>
                    <a:pt x="203" y="305"/>
                  </a:lnTo>
                  <a:lnTo>
                    <a:pt x="205" y="297"/>
                  </a:lnTo>
                  <a:lnTo>
                    <a:pt x="208" y="293"/>
                  </a:lnTo>
                  <a:lnTo>
                    <a:pt x="207" y="290"/>
                  </a:lnTo>
                  <a:lnTo>
                    <a:pt x="205" y="288"/>
                  </a:lnTo>
                  <a:lnTo>
                    <a:pt x="201" y="293"/>
                  </a:lnTo>
                  <a:lnTo>
                    <a:pt x="195" y="293"/>
                  </a:lnTo>
                  <a:lnTo>
                    <a:pt x="193" y="293"/>
                  </a:lnTo>
                  <a:lnTo>
                    <a:pt x="192" y="292"/>
                  </a:lnTo>
                  <a:lnTo>
                    <a:pt x="190" y="293"/>
                  </a:lnTo>
                  <a:lnTo>
                    <a:pt x="193" y="288"/>
                  </a:lnTo>
                  <a:lnTo>
                    <a:pt x="192" y="284"/>
                  </a:lnTo>
                  <a:lnTo>
                    <a:pt x="195" y="280"/>
                  </a:lnTo>
                  <a:lnTo>
                    <a:pt x="195" y="277"/>
                  </a:lnTo>
                  <a:lnTo>
                    <a:pt x="195" y="273"/>
                  </a:lnTo>
                  <a:lnTo>
                    <a:pt x="193" y="271"/>
                  </a:lnTo>
                  <a:lnTo>
                    <a:pt x="195" y="271"/>
                  </a:lnTo>
                  <a:lnTo>
                    <a:pt x="197" y="269"/>
                  </a:lnTo>
                  <a:lnTo>
                    <a:pt x="195" y="265"/>
                  </a:lnTo>
                  <a:lnTo>
                    <a:pt x="193" y="263"/>
                  </a:lnTo>
                  <a:lnTo>
                    <a:pt x="192" y="261"/>
                  </a:lnTo>
                  <a:lnTo>
                    <a:pt x="195" y="258"/>
                  </a:lnTo>
                  <a:lnTo>
                    <a:pt x="190" y="254"/>
                  </a:lnTo>
                  <a:lnTo>
                    <a:pt x="188" y="252"/>
                  </a:lnTo>
                  <a:lnTo>
                    <a:pt x="182" y="252"/>
                  </a:lnTo>
                  <a:lnTo>
                    <a:pt x="180" y="250"/>
                  </a:lnTo>
                  <a:lnTo>
                    <a:pt x="178" y="248"/>
                  </a:lnTo>
                  <a:lnTo>
                    <a:pt x="173" y="250"/>
                  </a:lnTo>
                  <a:lnTo>
                    <a:pt x="169" y="248"/>
                  </a:lnTo>
                  <a:lnTo>
                    <a:pt x="169" y="246"/>
                  </a:lnTo>
                  <a:lnTo>
                    <a:pt x="173" y="241"/>
                  </a:lnTo>
                  <a:lnTo>
                    <a:pt x="171" y="241"/>
                  </a:lnTo>
                  <a:lnTo>
                    <a:pt x="171" y="235"/>
                  </a:lnTo>
                  <a:lnTo>
                    <a:pt x="163" y="233"/>
                  </a:lnTo>
                  <a:lnTo>
                    <a:pt x="160" y="233"/>
                  </a:lnTo>
                  <a:lnTo>
                    <a:pt x="154" y="233"/>
                  </a:lnTo>
                  <a:lnTo>
                    <a:pt x="150" y="229"/>
                  </a:lnTo>
                  <a:lnTo>
                    <a:pt x="146" y="231"/>
                  </a:lnTo>
                  <a:lnTo>
                    <a:pt x="144" y="229"/>
                  </a:lnTo>
                  <a:lnTo>
                    <a:pt x="143" y="231"/>
                  </a:lnTo>
                  <a:lnTo>
                    <a:pt x="141" y="228"/>
                  </a:lnTo>
                  <a:lnTo>
                    <a:pt x="135" y="229"/>
                  </a:lnTo>
                  <a:lnTo>
                    <a:pt x="133" y="229"/>
                  </a:lnTo>
                  <a:lnTo>
                    <a:pt x="133" y="231"/>
                  </a:lnTo>
                  <a:lnTo>
                    <a:pt x="129" y="231"/>
                  </a:lnTo>
                  <a:lnTo>
                    <a:pt x="128" y="229"/>
                  </a:lnTo>
                  <a:lnTo>
                    <a:pt x="124" y="228"/>
                  </a:lnTo>
                  <a:lnTo>
                    <a:pt x="120" y="229"/>
                  </a:lnTo>
                  <a:lnTo>
                    <a:pt x="120" y="228"/>
                  </a:lnTo>
                  <a:lnTo>
                    <a:pt x="118" y="229"/>
                  </a:lnTo>
                  <a:lnTo>
                    <a:pt x="116" y="228"/>
                  </a:lnTo>
                  <a:lnTo>
                    <a:pt x="114" y="226"/>
                  </a:lnTo>
                  <a:lnTo>
                    <a:pt x="109" y="224"/>
                  </a:lnTo>
                  <a:lnTo>
                    <a:pt x="103" y="222"/>
                  </a:lnTo>
                  <a:lnTo>
                    <a:pt x="97" y="218"/>
                  </a:lnTo>
                  <a:lnTo>
                    <a:pt x="90" y="216"/>
                  </a:lnTo>
                  <a:lnTo>
                    <a:pt x="88" y="216"/>
                  </a:lnTo>
                  <a:lnTo>
                    <a:pt x="84" y="216"/>
                  </a:lnTo>
                  <a:lnTo>
                    <a:pt x="77" y="214"/>
                  </a:lnTo>
                  <a:lnTo>
                    <a:pt x="75" y="214"/>
                  </a:lnTo>
                  <a:lnTo>
                    <a:pt x="69" y="213"/>
                  </a:lnTo>
                  <a:lnTo>
                    <a:pt x="65" y="213"/>
                  </a:lnTo>
                  <a:lnTo>
                    <a:pt x="58" y="211"/>
                  </a:lnTo>
                  <a:lnTo>
                    <a:pt x="56" y="209"/>
                  </a:lnTo>
                  <a:lnTo>
                    <a:pt x="49" y="209"/>
                  </a:lnTo>
                  <a:lnTo>
                    <a:pt x="41" y="207"/>
                  </a:lnTo>
                  <a:lnTo>
                    <a:pt x="37" y="205"/>
                  </a:lnTo>
                  <a:lnTo>
                    <a:pt x="30" y="205"/>
                  </a:lnTo>
                  <a:lnTo>
                    <a:pt x="26" y="203"/>
                  </a:lnTo>
                  <a:lnTo>
                    <a:pt x="22" y="203"/>
                  </a:lnTo>
                  <a:lnTo>
                    <a:pt x="22" y="199"/>
                  </a:lnTo>
                  <a:lnTo>
                    <a:pt x="18" y="192"/>
                  </a:lnTo>
                  <a:lnTo>
                    <a:pt x="15" y="186"/>
                  </a:lnTo>
                  <a:lnTo>
                    <a:pt x="11" y="186"/>
                  </a:lnTo>
                  <a:lnTo>
                    <a:pt x="11" y="184"/>
                  </a:lnTo>
                  <a:lnTo>
                    <a:pt x="7" y="184"/>
                  </a:lnTo>
                  <a:lnTo>
                    <a:pt x="9" y="182"/>
                  </a:lnTo>
                  <a:lnTo>
                    <a:pt x="7" y="181"/>
                  </a:lnTo>
                  <a:lnTo>
                    <a:pt x="5" y="182"/>
                  </a:lnTo>
                  <a:lnTo>
                    <a:pt x="1" y="184"/>
                  </a:lnTo>
                  <a:lnTo>
                    <a:pt x="0" y="181"/>
                  </a:lnTo>
                  <a:lnTo>
                    <a:pt x="7" y="175"/>
                  </a:lnTo>
                  <a:lnTo>
                    <a:pt x="9" y="177"/>
                  </a:lnTo>
                  <a:lnTo>
                    <a:pt x="11" y="175"/>
                  </a:lnTo>
                  <a:lnTo>
                    <a:pt x="18" y="171"/>
                  </a:lnTo>
                  <a:lnTo>
                    <a:pt x="22" y="169"/>
                  </a:lnTo>
                  <a:lnTo>
                    <a:pt x="28" y="167"/>
                  </a:lnTo>
                  <a:lnTo>
                    <a:pt x="32" y="164"/>
                  </a:lnTo>
                  <a:lnTo>
                    <a:pt x="35" y="160"/>
                  </a:lnTo>
                  <a:lnTo>
                    <a:pt x="39" y="154"/>
                  </a:lnTo>
                  <a:lnTo>
                    <a:pt x="43" y="152"/>
                  </a:lnTo>
                  <a:lnTo>
                    <a:pt x="52" y="150"/>
                  </a:lnTo>
                  <a:lnTo>
                    <a:pt x="56" y="150"/>
                  </a:lnTo>
                  <a:lnTo>
                    <a:pt x="64" y="149"/>
                  </a:lnTo>
                  <a:lnTo>
                    <a:pt x="69" y="149"/>
                  </a:lnTo>
                  <a:lnTo>
                    <a:pt x="75" y="145"/>
                  </a:lnTo>
                  <a:lnTo>
                    <a:pt x="82" y="139"/>
                  </a:lnTo>
                  <a:lnTo>
                    <a:pt x="86" y="135"/>
                  </a:lnTo>
                  <a:lnTo>
                    <a:pt x="88" y="132"/>
                  </a:lnTo>
                  <a:lnTo>
                    <a:pt x="92" y="132"/>
                  </a:lnTo>
                  <a:lnTo>
                    <a:pt x="99" y="130"/>
                  </a:lnTo>
                  <a:lnTo>
                    <a:pt x="103" y="126"/>
                  </a:lnTo>
                  <a:lnTo>
                    <a:pt x="105" y="118"/>
                  </a:lnTo>
                  <a:lnTo>
                    <a:pt x="111" y="115"/>
                  </a:lnTo>
                  <a:lnTo>
                    <a:pt x="112" y="113"/>
                  </a:lnTo>
                  <a:lnTo>
                    <a:pt x="116" y="109"/>
                  </a:lnTo>
                  <a:lnTo>
                    <a:pt x="120" y="105"/>
                  </a:lnTo>
                  <a:lnTo>
                    <a:pt x="126" y="103"/>
                  </a:lnTo>
                  <a:lnTo>
                    <a:pt x="131" y="98"/>
                  </a:lnTo>
                  <a:lnTo>
                    <a:pt x="135" y="90"/>
                  </a:lnTo>
                  <a:lnTo>
                    <a:pt x="143" y="86"/>
                  </a:lnTo>
                  <a:lnTo>
                    <a:pt x="144" y="83"/>
                  </a:lnTo>
                  <a:lnTo>
                    <a:pt x="148" y="83"/>
                  </a:lnTo>
                  <a:lnTo>
                    <a:pt x="148" y="81"/>
                  </a:lnTo>
                  <a:lnTo>
                    <a:pt x="154" y="79"/>
                  </a:lnTo>
                  <a:lnTo>
                    <a:pt x="161" y="77"/>
                  </a:lnTo>
                  <a:lnTo>
                    <a:pt x="165" y="75"/>
                  </a:lnTo>
                  <a:lnTo>
                    <a:pt x="173" y="77"/>
                  </a:lnTo>
                  <a:lnTo>
                    <a:pt x="178" y="75"/>
                  </a:lnTo>
                  <a:lnTo>
                    <a:pt x="180" y="77"/>
                  </a:lnTo>
                  <a:lnTo>
                    <a:pt x="184" y="79"/>
                  </a:lnTo>
                  <a:lnTo>
                    <a:pt x="184" y="83"/>
                  </a:lnTo>
                  <a:lnTo>
                    <a:pt x="182" y="83"/>
                  </a:lnTo>
                  <a:lnTo>
                    <a:pt x="178" y="85"/>
                  </a:lnTo>
                  <a:lnTo>
                    <a:pt x="175" y="85"/>
                  </a:lnTo>
                  <a:lnTo>
                    <a:pt x="167" y="85"/>
                  </a:lnTo>
                  <a:lnTo>
                    <a:pt x="167" y="86"/>
                  </a:lnTo>
                  <a:lnTo>
                    <a:pt x="169" y="90"/>
                  </a:lnTo>
                  <a:lnTo>
                    <a:pt x="161" y="96"/>
                  </a:lnTo>
                  <a:lnTo>
                    <a:pt x="158" y="100"/>
                  </a:lnTo>
                  <a:lnTo>
                    <a:pt x="156" y="103"/>
                  </a:lnTo>
                  <a:lnTo>
                    <a:pt x="150" y="105"/>
                  </a:lnTo>
                  <a:lnTo>
                    <a:pt x="150" y="111"/>
                  </a:lnTo>
                  <a:lnTo>
                    <a:pt x="146" y="113"/>
                  </a:lnTo>
                  <a:lnTo>
                    <a:pt x="146" y="117"/>
                  </a:lnTo>
                  <a:lnTo>
                    <a:pt x="143" y="118"/>
                  </a:lnTo>
                  <a:lnTo>
                    <a:pt x="143" y="126"/>
                  </a:lnTo>
                  <a:lnTo>
                    <a:pt x="139" y="130"/>
                  </a:lnTo>
                  <a:lnTo>
                    <a:pt x="137" y="130"/>
                  </a:lnTo>
                  <a:lnTo>
                    <a:pt x="135" y="139"/>
                  </a:lnTo>
                  <a:lnTo>
                    <a:pt x="135" y="145"/>
                  </a:lnTo>
                  <a:lnTo>
                    <a:pt x="137" y="149"/>
                  </a:lnTo>
                  <a:lnTo>
                    <a:pt x="135" y="152"/>
                  </a:lnTo>
                  <a:lnTo>
                    <a:pt x="137" y="152"/>
                  </a:lnTo>
                  <a:lnTo>
                    <a:pt x="139" y="152"/>
                  </a:lnTo>
                  <a:lnTo>
                    <a:pt x="139" y="149"/>
                  </a:lnTo>
                  <a:lnTo>
                    <a:pt x="143" y="143"/>
                  </a:lnTo>
                  <a:lnTo>
                    <a:pt x="141" y="143"/>
                  </a:lnTo>
                  <a:lnTo>
                    <a:pt x="143" y="141"/>
                  </a:lnTo>
                  <a:lnTo>
                    <a:pt x="144" y="141"/>
                  </a:lnTo>
                  <a:lnTo>
                    <a:pt x="146" y="137"/>
                  </a:lnTo>
                  <a:lnTo>
                    <a:pt x="152" y="133"/>
                  </a:lnTo>
                  <a:lnTo>
                    <a:pt x="158" y="130"/>
                  </a:lnTo>
                  <a:lnTo>
                    <a:pt x="160" y="130"/>
                  </a:lnTo>
                  <a:lnTo>
                    <a:pt x="156" y="133"/>
                  </a:lnTo>
                  <a:lnTo>
                    <a:pt x="152" y="137"/>
                  </a:lnTo>
                  <a:lnTo>
                    <a:pt x="150" y="145"/>
                  </a:lnTo>
                  <a:lnTo>
                    <a:pt x="154" y="137"/>
                  </a:lnTo>
                  <a:lnTo>
                    <a:pt x="163" y="133"/>
                  </a:lnTo>
                  <a:lnTo>
                    <a:pt x="169" y="135"/>
                  </a:lnTo>
                  <a:lnTo>
                    <a:pt x="176" y="133"/>
                  </a:lnTo>
                  <a:lnTo>
                    <a:pt x="180" y="135"/>
                  </a:lnTo>
                  <a:lnTo>
                    <a:pt x="182" y="135"/>
                  </a:lnTo>
                  <a:lnTo>
                    <a:pt x="186" y="137"/>
                  </a:lnTo>
                  <a:lnTo>
                    <a:pt x="188" y="137"/>
                  </a:lnTo>
                  <a:lnTo>
                    <a:pt x="190" y="141"/>
                  </a:lnTo>
                  <a:lnTo>
                    <a:pt x="192" y="141"/>
                  </a:lnTo>
                  <a:lnTo>
                    <a:pt x="192" y="139"/>
                  </a:lnTo>
                  <a:lnTo>
                    <a:pt x="193" y="143"/>
                  </a:lnTo>
                  <a:lnTo>
                    <a:pt x="195" y="143"/>
                  </a:lnTo>
                  <a:lnTo>
                    <a:pt x="199" y="145"/>
                  </a:lnTo>
                  <a:lnTo>
                    <a:pt x="201" y="150"/>
                  </a:lnTo>
                  <a:lnTo>
                    <a:pt x="205" y="154"/>
                  </a:lnTo>
                  <a:lnTo>
                    <a:pt x="207" y="158"/>
                  </a:lnTo>
                  <a:lnTo>
                    <a:pt x="208" y="160"/>
                  </a:lnTo>
                  <a:lnTo>
                    <a:pt x="210" y="162"/>
                  </a:lnTo>
                  <a:lnTo>
                    <a:pt x="212" y="164"/>
                  </a:lnTo>
                  <a:lnTo>
                    <a:pt x="216" y="164"/>
                  </a:lnTo>
                  <a:lnTo>
                    <a:pt x="214" y="165"/>
                  </a:lnTo>
                  <a:lnTo>
                    <a:pt x="216" y="167"/>
                  </a:lnTo>
                  <a:lnTo>
                    <a:pt x="216" y="169"/>
                  </a:lnTo>
                  <a:lnTo>
                    <a:pt x="218" y="173"/>
                  </a:lnTo>
                  <a:lnTo>
                    <a:pt x="225" y="173"/>
                  </a:lnTo>
                  <a:lnTo>
                    <a:pt x="231" y="171"/>
                  </a:lnTo>
                  <a:lnTo>
                    <a:pt x="235" y="171"/>
                  </a:lnTo>
                  <a:lnTo>
                    <a:pt x="237" y="169"/>
                  </a:lnTo>
                  <a:lnTo>
                    <a:pt x="242" y="167"/>
                  </a:lnTo>
                  <a:lnTo>
                    <a:pt x="246" y="169"/>
                  </a:lnTo>
                  <a:lnTo>
                    <a:pt x="248" y="173"/>
                  </a:lnTo>
                  <a:lnTo>
                    <a:pt x="250" y="173"/>
                  </a:lnTo>
                  <a:lnTo>
                    <a:pt x="254" y="177"/>
                  </a:lnTo>
                  <a:lnTo>
                    <a:pt x="257" y="175"/>
                  </a:lnTo>
                  <a:lnTo>
                    <a:pt x="259" y="171"/>
                  </a:lnTo>
                  <a:lnTo>
                    <a:pt x="261" y="171"/>
                  </a:lnTo>
                  <a:lnTo>
                    <a:pt x="265" y="175"/>
                  </a:lnTo>
                  <a:lnTo>
                    <a:pt x="269" y="175"/>
                  </a:lnTo>
                  <a:lnTo>
                    <a:pt x="269" y="177"/>
                  </a:lnTo>
                  <a:lnTo>
                    <a:pt x="271" y="173"/>
                  </a:lnTo>
                  <a:lnTo>
                    <a:pt x="272" y="173"/>
                  </a:lnTo>
                  <a:lnTo>
                    <a:pt x="274" y="167"/>
                  </a:lnTo>
                  <a:lnTo>
                    <a:pt x="280" y="162"/>
                  </a:lnTo>
                  <a:lnTo>
                    <a:pt x="282" y="162"/>
                  </a:lnTo>
                  <a:lnTo>
                    <a:pt x="289" y="158"/>
                  </a:lnTo>
                  <a:lnTo>
                    <a:pt x="291" y="156"/>
                  </a:lnTo>
                  <a:lnTo>
                    <a:pt x="299" y="150"/>
                  </a:lnTo>
                  <a:lnTo>
                    <a:pt x="301" y="149"/>
                  </a:lnTo>
                  <a:lnTo>
                    <a:pt x="306" y="149"/>
                  </a:lnTo>
                  <a:lnTo>
                    <a:pt x="314" y="145"/>
                  </a:lnTo>
                  <a:lnTo>
                    <a:pt x="319" y="143"/>
                  </a:lnTo>
                  <a:lnTo>
                    <a:pt x="329" y="145"/>
                  </a:lnTo>
                  <a:lnTo>
                    <a:pt x="336" y="143"/>
                  </a:lnTo>
                  <a:lnTo>
                    <a:pt x="342" y="143"/>
                  </a:lnTo>
                  <a:lnTo>
                    <a:pt x="348" y="143"/>
                  </a:lnTo>
                  <a:lnTo>
                    <a:pt x="350" y="141"/>
                  </a:lnTo>
                  <a:lnTo>
                    <a:pt x="357" y="137"/>
                  </a:lnTo>
                  <a:lnTo>
                    <a:pt x="363" y="133"/>
                  </a:lnTo>
                  <a:lnTo>
                    <a:pt x="370" y="132"/>
                  </a:lnTo>
                  <a:lnTo>
                    <a:pt x="378" y="132"/>
                  </a:lnTo>
                  <a:lnTo>
                    <a:pt x="385" y="130"/>
                  </a:lnTo>
                  <a:lnTo>
                    <a:pt x="382" y="133"/>
                  </a:lnTo>
                  <a:lnTo>
                    <a:pt x="380" y="137"/>
                  </a:lnTo>
                  <a:lnTo>
                    <a:pt x="382" y="139"/>
                  </a:lnTo>
                  <a:lnTo>
                    <a:pt x="382" y="147"/>
                  </a:lnTo>
                  <a:lnTo>
                    <a:pt x="382" y="152"/>
                  </a:lnTo>
                  <a:lnTo>
                    <a:pt x="380" y="154"/>
                  </a:lnTo>
                  <a:lnTo>
                    <a:pt x="383" y="160"/>
                  </a:lnTo>
                  <a:lnTo>
                    <a:pt x="387" y="160"/>
                  </a:lnTo>
                  <a:lnTo>
                    <a:pt x="389" y="158"/>
                  </a:lnTo>
                  <a:lnTo>
                    <a:pt x="391" y="160"/>
                  </a:lnTo>
                  <a:lnTo>
                    <a:pt x="395" y="158"/>
                  </a:lnTo>
                  <a:lnTo>
                    <a:pt x="398" y="162"/>
                  </a:lnTo>
                  <a:lnTo>
                    <a:pt x="402" y="160"/>
                  </a:lnTo>
                  <a:lnTo>
                    <a:pt x="408" y="156"/>
                  </a:lnTo>
                  <a:lnTo>
                    <a:pt x="412" y="156"/>
                  </a:lnTo>
                  <a:lnTo>
                    <a:pt x="415" y="160"/>
                  </a:lnTo>
                  <a:lnTo>
                    <a:pt x="414" y="160"/>
                  </a:lnTo>
                  <a:lnTo>
                    <a:pt x="414" y="162"/>
                  </a:lnTo>
                  <a:lnTo>
                    <a:pt x="415" y="162"/>
                  </a:lnTo>
                  <a:lnTo>
                    <a:pt x="421" y="158"/>
                  </a:lnTo>
                  <a:lnTo>
                    <a:pt x="423" y="160"/>
                  </a:lnTo>
                  <a:lnTo>
                    <a:pt x="423" y="158"/>
                  </a:lnTo>
                  <a:lnTo>
                    <a:pt x="423" y="156"/>
                  </a:lnTo>
                  <a:lnTo>
                    <a:pt x="425" y="152"/>
                  </a:lnTo>
                  <a:lnTo>
                    <a:pt x="430" y="150"/>
                  </a:lnTo>
                  <a:lnTo>
                    <a:pt x="436" y="152"/>
                  </a:lnTo>
                  <a:lnTo>
                    <a:pt x="438" y="147"/>
                  </a:lnTo>
                  <a:lnTo>
                    <a:pt x="446" y="147"/>
                  </a:lnTo>
                  <a:lnTo>
                    <a:pt x="447" y="149"/>
                  </a:lnTo>
                  <a:lnTo>
                    <a:pt x="446" y="158"/>
                  </a:lnTo>
                  <a:lnTo>
                    <a:pt x="447" y="164"/>
                  </a:lnTo>
                  <a:lnTo>
                    <a:pt x="451" y="167"/>
                  </a:lnTo>
                  <a:lnTo>
                    <a:pt x="449" y="169"/>
                  </a:lnTo>
                  <a:lnTo>
                    <a:pt x="451" y="177"/>
                  </a:lnTo>
                  <a:lnTo>
                    <a:pt x="455" y="181"/>
                  </a:lnTo>
                  <a:lnTo>
                    <a:pt x="459" y="184"/>
                  </a:lnTo>
                  <a:lnTo>
                    <a:pt x="461" y="188"/>
                  </a:lnTo>
                  <a:lnTo>
                    <a:pt x="462" y="190"/>
                  </a:lnTo>
                  <a:lnTo>
                    <a:pt x="464" y="194"/>
                  </a:lnTo>
                  <a:lnTo>
                    <a:pt x="468" y="192"/>
                  </a:lnTo>
                  <a:lnTo>
                    <a:pt x="472" y="186"/>
                  </a:lnTo>
                  <a:lnTo>
                    <a:pt x="478" y="188"/>
                  </a:lnTo>
                  <a:lnTo>
                    <a:pt x="485" y="184"/>
                  </a:lnTo>
                  <a:lnTo>
                    <a:pt x="491" y="184"/>
                  </a:lnTo>
                  <a:lnTo>
                    <a:pt x="502" y="196"/>
                  </a:lnTo>
                  <a:lnTo>
                    <a:pt x="500" y="201"/>
                  </a:lnTo>
                  <a:lnTo>
                    <a:pt x="498" y="201"/>
                  </a:lnTo>
                  <a:lnTo>
                    <a:pt x="496" y="203"/>
                  </a:lnTo>
                  <a:lnTo>
                    <a:pt x="494" y="205"/>
                  </a:lnTo>
                  <a:lnTo>
                    <a:pt x="494" y="203"/>
                  </a:lnTo>
                  <a:lnTo>
                    <a:pt x="493" y="205"/>
                  </a:lnTo>
                  <a:lnTo>
                    <a:pt x="491" y="201"/>
                  </a:lnTo>
                  <a:lnTo>
                    <a:pt x="489" y="203"/>
                  </a:lnTo>
                  <a:lnTo>
                    <a:pt x="489" y="201"/>
                  </a:lnTo>
                  <a:lnTo>
                    <a:pt x="483" y="205"/>
                  </a:lnTo>
                  <a:lnTo>
                    <a:pt x="481" y="203"/>
                  </a:lnTo>
                  <a:lnTo>
                    <a:pt x="479" y="203"/>
                  </a:lnTo>
                  <a:lnTo>
                    <a:pt x="478" y="205"/>
                  </a:lnTo>
                  <a:lnTo>
                    <a:pt x="476" y="201"/>
                  </a:lnTo>
                  <a:lnTo>
                    <a:pt x="474" y="203"/>
                  </a:lnTo>
                  <a:lnTo>
                    <a:pt x="474" y="201"/>
                  </a:lnTo>
                  <a:lnTo>
                    <a:pt x="472" y="201"/>
                  </a:lnTo>
                  <a:lnTo>
                    <a:pt x="472" y="199"/>
                  </a:lnTo>
                  <a:lnTo>
                    <a:pt x="472" y="201"/>
                  </a:lnTo>
                  <a:lnTo>
                    <a:pt x="470" y="199"/>
                  </a:lnTo>
                  <a:lnTo>
                    <a:pt x="468" y="203"/>
                  </a:lnTo>
                  <a:lnTo>
                    <a:pt x="468" y="201"/>
                  </a:lnTo>
                  <a:lnTo>
                    <a:pt x="466" y="203"/>
                  </a:lnTo>
                  <a:lnTo>
                    <a:pt x="462" y="203"/>
                  </a:lnTo>
                  <a:lnTo>
                    <a:pt x="462" y="205"/>
                  </a:lnTo>
                  <a:lnTo>
                    <a:pt x="455" y="203"/>
                  </a:lnTo>
                  <a:lnTo>
                    <a:pt x="453" y="203"/>
                  </a:lnTo>
                  <a:lnTo>
                    <a:pt x="451" y="203"/>
                  </a:lnTo>
                  <a:lnTo>
                    <a:pt x="449" y="203"/>
                  </a:lnTo>
                  <a:lnTo>
                    <a:pt x="451" y="205"/>
                  </a:lnTo>
                  <a:lnTo>
                    <a:pt x="446" y="203"/>
                  </a:lnTo>
                  <a:lnTo>
                    <a:pt x="447" y="205"/>
                  </a:lnTo>
                  <a:lnTo>
                    <a:pt x="442" y="203"/>
                  </a:lnTo>
                  <a:lnTo>
                    <a:pt x="442" y="205"/>
                  </a:lnTo>
                  <a:lnTo>
                    <a:pt x="438" y="203"/>
                  </a:lnTo>
                  <a:lnTo>
                    <a:pt x="442" y="205"/>
                  </a:lnTo>
                  <a:lnTo>
                    <a:pt x="438" y="203"/>
                  </a:lnTo>
                  <a:lnTo>
                    <a:pt x="436" y="203"/>
                  </a:lnTo>
                  <a:lnTo>
                    <a:pt x="438" y="205"/>
                  </a:lnTo>
                  <a:lnTo>
                    <a:pt x="434" y="203"/>
                  </a:lnTo>
                  <a:lnTo>
                    <a:pt x="432" y="203"/>
                  </a:lnTo>
                  <a:lnTo>
                    <a:pt x="430" y="203"/>
                  </a:lnTo>
                  <a:lnTo>
                    <a:pt x="429" y="203"/>
                  </a:lnTo>
                  <a:lnTo>
                    <a:pt x="430" y="207"/>
                  </a:lnTo>
                  <a:lnTo>
                    <a:pt x="427" y="203"/>
                  </a:lnTo>
                  <a:lnTo>
                    <a:pt x="425" y="207"/>
                  </a:lnTo>
                  <a:lnTo>
                    <a:pt x="423" y="201"/>
                  </a:lnTo>
                  <a:lnTo>
                    <a:pt x="419" y="201"/>
                  </a:lnTo>
                  <a:lnTo>
                    <a:pt x="415" y="199"/>
                  </a:lnTo>
                  <a:lnTo>
                    <a:pt x="412" y="203"/>
                  </a:lnTo>
                  <a:lnTo>
                    <a:pt x="414" y="209"/>
                  </a:lnTo>
                  <a:lnTo>
                    <a:pt x="412" y="209"/>
                  </a:lnTo>
                  <a:lnTo>
                    <a:pt x="410" y="211"/>
                  </a:lnTo>
                  <a:lnTo>
                    <a:pt x="412" y="214"/>
                  </a:lnTo>
                  <a:lnTo>
                    <a:pt x="412" y="218"/>
                  </a:lnTo>
                  <a:lnTo>
                    <a:pt x="414" y="220"/>
                  </a:lnTo>
                  <a:lnTo>
                    <a:pt x="410" y="222"/>
                  </a:lnTo>
                  <a:lnTo>
                    <a:pt x="404" y="220"/>
                  </a:lnTo>
                  <a:lnTo>
                    <a:pt x="404" y="216"/>
                  </a:lnTo>
                  <a:lnTo>
                    <a:pt x="400" y="214"/>
                  </a:lnTo>
                  <a:lnTo>
                    <a:pt x="398" y="214"/>
                  </a:lnTo>
                  <a:lnTo>
                    <a:pt x="395" y="211"/>
                  </a:lnTo>
                  <a:lnTo>
                    <a:pt x="389" y="207"/>
                  </a:lnTo>
                  <a:lnTo>
                    <a:pt x="383" y="205"/>
                  </a:lnTo>
                  <a:lnTo>
                    <a:pt x="378" y="203"/>
                  </a:lnTo>
                  <a:lnTo>
                    <a:pt x="376" y="203"/>
                  </a:lnTo>
                  <a:lnTo>
                    <a:pt x="376" y="205"/>
                  </a:lnTo>
                  <a:lnTo>
                    <a:pt x="376" y="203"/>
                  </a:lnTo>
                  <a:lnTo>
                    <a:pt x="372" y="203"/>
                  </a:lnTo>
                  <a:lnTo>
                    <a:pt x="366" y="201"/>
                  </a:lnTo>
                  <a:lnTo>
                    <a:pt x="363" y="203"/>
                  </a:lnTo>
                  <a:lnTo>
                    <a:pt x="361" y="201"/>
                  </a:lnTo>
                  <a:lnTo>
                    <a:pt x="359" y="203"/>
                  </a:lnTo>
                  <a:lnTo>
                    <a:pt x="353" y="201"/>
                  </a:lnTo>
                  <a:lnTo>
                    <a:pt x="348" y="209"/>
                  </a:lnTo>
                  <a:lnTo>
                    <a:pt x="344" y="216"/>
                  </a:lnTo>
                  <a:lnTo>
                    <a:pt x="342" y="216"/>
                  </a:lnTo>
                  <a:lnTo>
                    <a:pt x="333" y="216"/>
                  </a:lnTo>
                  <a:lnTo>
                    <a:pt x="331" y="218"/>
                  </a:lnTo>
                  <a:lnTo>
                    <a:pt x="327" y="218"/>
                  </a:lnTo>
                  <a:lnTo>
                    <a:pt x="325" y="220"/>
                  </a:lnTo>
                  <a:lnTo>
                    <a:pt x="327" y="222"/>
                  </a:lnTo>
                  <a:lnTo>
                    <a:pt x="319" y="220"/>
                  </a:lnTo>
                  <a:lnTo>
                    <a:pt x="314" y="218"/>
                  </a:lnTo>
                  <a:lnTo>
                    <a:pt x="310" y="220"/>
                  </a:lnTo>
                  <a:lnTo>
                    <a:pt x="304" y="220"/>
                  </a:lnTo>
                  <a:lnTo>
                    <a:pt x="304" y="222"/>
                  </a:lnTo>
                  <a:lnTo>
                    <a:pt x="301" y="222"/>
                  </a:lnTo>
                  <a:lnTo>
                    <a:pt x="297" y="228"/>
                  </a:lnTo>
                  <a:lnTo>
                    <a:pt x="299" y="231"/>
                  </a:lnTo>
                  <a:lnTo>
                    <a:pt x="297" y="239"/>
                  </a:lnTo>
                  <a:lnTo>
                    <a:pt x="291" y="239"/>
                  </a:lnTo>
                  <a:lnTo>
                    <a:pt x="291" y="243"/>
                  </a:lnTo>
                  <a:lnTo>
                    <a:pt x="287" y="243"/>
                  </a:lnTo>
                  <a:lnTo>
                    <a:pt x="287" y="245"/>
                  </a:lnTo>
                  <a:lnTo>
                    <a:pt x="284" y="245"/>
                  </a:lnTo>
                  <a:lnTo>
                    <a:pt x="286" y="246"/>
                  </a:lnTo>
                  <a:lnTo>
                    <a:pt x="284" y="248"/>
                  </a:lnTo>
                  <a:lnTo>
                    <a:pt x="282" y="248"/>
                  </a:lnTo>
                  <a:lnTo>
                    <a:pt x="282" y="254"/>
                  </a:lnTo>
                  <a:lnTo>
                    <a:pt x="278" y="254"/>
                  </a:lnTo>
                  <a:lnTo>
                    <a:pt x="280" y="260"/>
                  </a:lnTo>
                  <a:lnTo>
                    <a:pt x="274" y="258"/>
                  </a:lnTo>
                  <a:lnTo>
                    <a:pt x="274" y="256"/>
                  </a:lnTo>
                  <a:lnTo>
                    <a:pt x="272" y="256"/>
                  </a:lnTo>
                  <a:lnTo>
                    <a:pt x="272" y="252"/>
                  </a:lnTo>
                  <a:lnTo>
                    <a:pt x="274" y="250"/>
                  </a:lnTo>
                  <a:lnTo>
                    <a:pt x="274" y="248"/>
                  </a:lnTo>
                  <a:lnTo>
                    <a:pt x="278" y="245"/>
                  </a:lnTo>
                  <a:lnTo>
                    <a:pt x="276" y="241"/>
                  </a:lnTo>
                  <a:lnTo>
                    <a:pt x="280" y="243"/>
                  </a:lnTo>
                  <a:lnTo>
                    <a:pt x="282" y="243"/>
                  </a:lnTo>
                  <a:lnTo>
                    <a:pt x="280" y="241"/>
                  </a:lnTo>
                  <a:lnTo>
                    <a:pt x="284" y="233"/>
                  </a:lnTo>
                  <a:lnTo>
                    <a:pt x="282" y="229"/>
                  </a:lnTo>
                  <a:lnTo>
                    <a:pt x="280" y="229"/>
                  </a:lnTo>
                  <a:lnTo>
                    <a:pt x="274" y="237"/>
                  </a:lnTo>
                  <a:lnTo>
                    <a:pt x="271" y="237"/>
                  </a:lnTo>
                  <a:lnTo>
                    <a:pt x="269" y="233"/>
                  </a:lnTo>
                  <a:lnTo>
                    <a:pt x="265" y="233"/>
                  </a:lnTo>
                  <a:lnTo>
                    <a:pt x="265" y="237"/>
                  </a:lnTo>
                  <a:lnTo>
                    <a:pt x="267" y="239"/>
                  </a:lnTo>
                  <a:lnTo>
                    <a:pt x="267" y="241"/>
                  </a:lnTo>
                  <a:lnTo>
                    <a:pt x="265" y="241"/>
                  </a:lnTo>
                  <a:lnTo>
                    <a:pt x="265" y="243"/>
                  </a:lnTo>
                  <a:lnTo>
                    <a:pt x="263" y="246"/>
                  </a:lnTo>
                  <a:lnTo>
                    <a:pt x="263" y="248"/>
                  </a:lnTo>
                  <a:lnTo>
                    <a:pt x="257" y="252"/>
                  </a:lnTo>
                  <a:lnTo>
                    <a:pt x="255" y="252"/>
                  </a:lnTo>
                  <a:lnTo>
                    <a:pt x="254" y="256"/>
                  </a:lnTo>
                  <a:lnTo>
                    <a:pt x="252" y="252"/>
                  </a:lnTo>
                  <a:lnTo>
                    <a:pt x="252" y="243"/>
                  </a:lnTo>
                  <a:lnTo>
                    <a:pt x="250" y="239"/>
                  </a:lnTo>
                  <a:lnTo>
                    <a:pt x="254" y="233"/>
                  </a:lnTo>
                  <a:lnTo>
                    <a:pt x="252" y="231"/>
                  </a:lnTo>
                  <a:lnTo>
                    <a:pt x="254" y="231"/>
                  </a:lnTo>
                  <a:lnTo>
                    <a:pt x="254" y="229"/>
                  </a:lnTo>
                  <a:lnTo>
                    <a:pt x="252" y="229"/>
                  </a:lnTo>
                  <a:lnTo>
                    <a:pt x="248" y="237"/>
                  </a:lnTo>
                  <a:lnTo>
                    <a:pt x="250" y="237"/>
                  </a:lnTo>
                  <a:lnTo>
                    <a:pt x="246" y="241"/>
                  </a:lnTo>
                  <a:lnTo>
                    <a:pt x="246" y="246"/>
                  </a:lnTo>
                  <a:lnTo>
                    <a:pt x="248" y="248"/>
                  </a:lnTo>
                  <a:lnTo>
                    <a:pt x="244" y="252"/>
                  </a:lnTo>
                  <a:lnTo>
                    <a:pt x="246" y="252"/>
                  </a:lnTo>
                  <a:lnTo>
                    <a:pt x="240" y="258"/>
                  </a:lnTo>
                  <a:lnTo>
                    <a:pt x="239" y="260"/>
                  </a:lnTo>
                  <a:lnTo>
                    <a:pt x="235" y="267"/>
                  </a:lnTo>
                  <a:lnTo>
                    <a:pt x="235" y="269"/>
                  </a:lnTo>
                  <a:lnTo>
                    <a:pt x="233" y="271"/>
                  </a:lnTo>
                  <a:lnTo>
                    <a:pt x="231" y="278"/>
                  </a:lnTo>
                  <a:lnTo>
                    <a:pt x="229" y="280"/>
                  </a:lnTo>
                  <a:lnTo>
                    <a:pt x="231" y="282"/>
                  </a:lnTo>
                  <a:lnTo>
                    <a:pt x="225" y="288"/>
                  </a:lnTo>
                  <a:lnTo>
                    <a:pt x="223" y="297"/>
                  </a:lnTo>
                  <a:lnTo>
                    <a:pt x="222" y="299"/>
                  </a:lnTo>
                  <a:lnTo>
                    <a:pt x="218" y="307"/>
                  </a:lnTo>
                  <a:lnTo>
                    <a:pt x="214" y="312"/>
                  </a:lnTo>
                  <a:lnTo>
                    <a:pt x="212" y="316"/>
                  </a:lnTo>
                  <a:lnTo>
                    <a:pt x="214" y="318"/>
                  </a:lnTo>
                  <a:close/>
                  <a:moveTo>
                    <a:pt x="75" y="41"/>
                  </a:moveTo>
                  <a:lnTo>
                    <a:pt x="73" y="43"/>
                  </a:lnTo>
                  <a:lnTo>
                    <a:pt x="73" y="41"/>
                  </a:lnTo>
                  <a:lnTo>
                    <a:pt x="75" y="41"/>
                  </a:lnTo>
                  <a:close/>
                  <a:moveTo>
                    <a:pt x="103" y="34"/>
                  </a:moveTo>
                  <a:lnTo>
                    <a:pt x="105" y="34"/>
                  </a:lnTo>
                  <a:lnTo>
                    <a:pt x="103" y="34"/>
                  </a:lnTo>
                  <a:close/>
                  <a:moveTo>
                    <a:pt x="120" y="13"/>
                  </a:moveTo>
                  <a:lnTo>
                    <a:pt x="122" y="13"/>
                  </a:lnTo>
                  <a:lnTo>
                    <a:pt x="122" y="15"/>
                  </a:lnTo>
                  <a:lnTo>
                    <a:pt x="120" y="15"/>
                  </a:lnTo>
                  <a:lnTo>
                    <a:pt x="120" y="13"/>
                  </a:lnTo>
                  <a:close/>
                  <a:moveTo>
                    <a:pt x="116" y="11"/>
                  </a:moveTo>
                  <a:lnTo>
                    <a:pt x="118" y="11"/>
                  </a:lnTo>
                  <a:lnTo>
                    <a:pt x="116" y="11"/>
                  </a:lnTo>
                  <a:close/>
                  <a:moveTo>
                    <a:pt x="116" y="9"/>
                  </a:moveTo>
                  <a:lnTo>
                    <a:pt x="112" y="13"/>
                  </a:lnTo>
                  <a:lnTo>
                    <a:pt x="116" y="9"/>
                  </a:lnTo>
                  <a:close/>
                  <a:moveTo>
                    <a:pt x="129" y="5"/>
                  </a:moveTo>
                  <a:lnTo>
                    <a:pt x="126" y="9"/>
                  </a:lnTo>
                  <a:lnTo>
                    <a:pt x="122" y="13"/>
                  </a:lnTo>
                  <a:lnTo>
                    <a:pt x="126" y="9"/>
                  </a:lnTo>
                  <a:lnTo>
                    <a:pt x="124" y="11"/>
                  </a:lnTo>
                  <a:lnTo>
                    <a:pt x="120" y="15"/>
                  </a:lnTo>
                  <a:lnTo>
                    <a:pt x="114" y="19"/>
                  </a:lnTo>
                  <a:lnTo>
                    <a:pt x="116" y="20"/>
                  </a:lnTo>
                  <a:lnTo>
                    <a:pt x="118" y="17"/>
                  </a:lnTo>
                  <a:lnTo>
                    <a:pt x="120" y="19"/>
                  </a:lnTo>
                  <a:lnTo>
                    <a:pt x="114" y="24"/>
                  </a:lnTo>
                  <a:lnTo>
                    <a:pt x="107" y="28"/>
                  </a:lnTo>
                  <a:lnTo>
                    <a:pt x="103" y="30"/>
                  </a:lnTo>
                  <a:lnTo>
                    <a:pt x="99" y="32"/>
                  </a:lnTo>
                  <a:lnTo>
                    <a:pt x="97" y="32"/>
                  </a:lnTo>
                  <a:lnTo>
                    <a:pt x="90" y="37"/>
                  </a:lnTo>
                  <a:lnTo>
                    <a:pt x="92" y="39"/>
                  </a:lnTo>
                  <a:lnTo>
                    <a:pt x="97" y="37"/>
                  </a:lnTo>
                  <a:lnTo>
                    <a:pt x="97" y="39"/>
                  </a:lnTo>
                  <a:lnTo>
                    <a:pt x="90" y="43"/>
                  </a:lnTo>
                  <a:lnTo>
                    <a:pt x="86" y="45"/>
                  </a:lnTo>
                  <a:lnTo>
                    <a:pt x="82" y="47"/>
                  </a:lnTo>
                  <a:lnTo>
                    <a:pt x="80" y="47"/>
                  </a:lnTo>
                  <a:lnTo>
                    <a:pt x="77" y="45"/>
                  </a:lnTo>
                  <a:lnTo>
                    <a:pt x="75" y="43"/>
                  </a:lnTo>
                  <a:lnTo>
                    <a:pt x="77" y="41"/>
                  </a:lnTo>
                  <a:lnTo>
                    <a:pt x="79" y="39"/>
                  </a:lnTo>
                  <a:lnTo>
                    <a:pt x="80" y="37"/>
                  </a:lnTo>
                  <a:lnTo>
                    <a:pt x="77" y="39"/>
                  </a:lnTo>
                  <a:lnTo>
                    <a:pt x="75" y="37"/>
                  </a:lnTo>
                  <a:lnTo>
                    <a:pt x="79" y="36"/>
                  </a:lnTo>
                  <a:lnTo>
                    <a:pt x="84" y="32"/>
                  </a:lnTo>
                  <a:lnTo>
                    <a:pt x="92" y="28"/>
                  </a:lnTo>
                  <a:lnTo>
                    <a:pt x="97" y="24"/>
                  </a:lnTo>
                  <a:lnTo>
                    <a:pt x="101" y="22"/>
                  </a:lnTo>
                  <a:lnTo>
                    <a:pt x="99" y="22"/>
                  </a:lnTo>
                  <a:lnTo>
                    <a:pt x="101" y="22"/>
                  </a:lnTo>
                  <a:lnTo>
                    <a:pt x="105" y="19"/>
                  </a:lnTo>
                  <a:lnTo>
                    <a:pt x="112" y="13"/>
                  </a:lnTo>
                  <a:lnTo>
                    <a:pt x="114" y="11"/>
                  </a:lnTo>
                  <a:lnTo>
                    <a:pt x="112" y="15"/>
                  </a:lnTo>
                  <a:lnTo>
                    <a:pt x="120" y="11"/>
                  </a:lnTo>
                  <a:lnTo>
                    <a:pt x="122" y="9"/>
                  </a:lnTo>
                  <a:lnTo>
                    <a:pt x="120" y="11"/>
                  </a:lnTo>
                  <a:lnTo>
                    <a:pt x="126" y="7"/>
                  </a:lnTo>
                  <a:lnTo>
                    <a:pt x="122" y="11"/>
                  </a:lnTo>
                  <a:lnTo>
                    <a:pt x="129" y="5"/>
                  </a:lnTo>
                  <a:close/>
                  <a:moveTo>
                    <a:pt x="131" y="0"/>
                  </a:moveTo>
                  <a:lnTo>
                    <a:pt x="133" y="0"/>
                  </a:lnTo>
                  <a:lnTo>
                    <a:pt x="133" y="2"/>
                  </a:lnTo>
                  <a:lnTo>
                    <a:pt x="131" y="2"/>
                  </a:lnTo>
                  <a:lnTo>
                    <a:pt x="131" y="0"/>
                  </a:lnTo>
                  <a:close/>
                </a:path>
              </a:pathLst>
            </a:custGeom>
            <a:noFill/>
            <a:ln w="63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3564054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7AB9840-BADB-46CF-9E05-C886E1B28DBC}"/>
              </a:ext>
            </a:extLst>
          </p:cNvPr>
          <p:cNvSpPr txBox="1"/>
          <p:nvPr/>
        </p:nvSpPr>
        <p:spPr>
          <a:xfrm>
            <a:off x="4515079" y="3751124"/>
            <a:ext cx="3161841" cy="369332"/>
          </a:xfrm>
          <a:prstGeom prst="rect">
            <a:avLst/>
          </a:prstGeom>
          <a:solidFill>
            <a:srgbClr val="00257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prstClr val="white"/>
              </a:solidFill>
              <a:latin typeface="Arial Black" panose="020B0A04020102020204" pitchFamily="34" charset="0"/>
              <a:ea typeface="+mn-ea"/>
              <a:cs typeface="Arial"/>
            </a:endParaRPr>
          </a:p>
        </p:txBody>
      </p:sp>
      <p:sp>
        <p:nvSpPr>
          <p:cNvPr id="9" name="TextBox 8">
            <a:extLst>
              <a:ext uri="{FF2B5EF4-FFF2-40B4-BE49-F238E27FC236}">
                <a16:creationId xmlns:a16="http://schemas.microsoft.com/office/drawing/2014/main" id="{BCA702CC-AB81-4B2F-BC9E-A8E0EDD7D77D}"/>
              </a:ext>
            </a:extLst>
          </p:cNvPr>
          <p:cNvSpPr txBox="1"/>
          <p:nvPr/>
        </p:nvSpPr>
        <p:spPr>
          <a:xfrm>
            <a:off x="1280320" y="1760317"/>
            <a:ext cx="1078491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Black" panose="020B0A04020102020204" pitchFamily="34" charset="0"/>
                <a:cs typeface="Arial"/>
              </a:rPr>
              <a:t>MICHIGAN’S PATH FORWARD:</a:t>
            </a:r>
          </a:p>
        </p:txBody>
      </p:sp>
      <p:cxnSp>
        <p:nvCxnSpPr>
          <p:cNvPr id="10" name="Straight Connector 9">
            <a:extLst>
              <a:ext uri="{FF2B5EF4-FFF2-40B4-BE49-F238E27FC236}">
                <a16:creationId xmlns:a16="http://schemas.microsoft.com/office/drawing/2014/main" id="{42BB4A1E-31F8-4AF7-A909-A26B5E446577}"/>
              </a:ext>
            </a:extLst>
          </p:cNvPr>
          <p:cNvCxnSpPr>
            <a:cxnSpLocks/>
          </p:cNvCxnSpPr>
          <p:nvPr/>
        </p:nvCxnSpPr>
        <p:spPr>
          <a:xfrm>
            <a:off x="1406444" y="2776704"/>
            <a:ext cx="1349298" cy="0"/>
          </a:xfrm>
          <a:prstGeom prst="line">
            <a:avLst/>
          </a:prstGeom>
          <a:ln w="1016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8A434CD-585B-7669-2614-97258AF4F9C3}"/>
              </a:ext>
            </a:extLst>
          </p:cNvPr>
          <p:cNvSpPr txBox="1"/>
          <p:nvPr/>
        </p:nvSpPr>
        <p:spPr>
          <a:xfrm>
            <a:off x="1583548" y="4375876"/>
            <a:ext cx="8491473" cy="400110"/>
          </a:xfrm>
          <a:prstGeom prst="rect">
            <a:avLst/>
          </a:prstGeom>
          <a:noFill/>
        </p:spPr>
        <p:txBody>
          <a:bodyPr wrap="square">
            <a:spAutoFit/>
          </a:bodyPr>
          <a:lstStyle/>
          <a:p>
            <a:pPr marL="342900" marR="0" lvl="0" indent="-34290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000" b="1" dirty="0">
                <a:solidFill>
                  <a:prstClr val="white"/>
                </a:solidFill>
                <a:latin typeface="Arial Black" panose="020B0A04020102020204" pitchFamily="34" charset="0"/>
                <a:ea typeface="+mn-ea"/>
                <a:cs typeface="Arial"/>
              </a:rPr>
              <a:t>PHYSICAL AND KNOWLEDGE INFRASTRUCTURE</a:t>
            </a:r>
            <a:endParaRPr kumimoji="0" lang="en-US" sz="20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endParaRPr>
          </a:p>
        </p:txBody>
      </p:sp>
      <p:sp>
        <p:nvSpPr>
          <p:cNvPr id="11" name="TextBox 10">
            <a:extLst>
              <a:ext uri="{FF2B5EF4-FFF2-40B4-BE49-F238E27FC236}">
                <a16:creationId xmlns:a16="http://schemas.microsoft.com/office/drawing/2014/main" id="{19D0DDB2-415B-3AD3-4D9D-4AE5D921A8D3}"/>
              </a:ext>
            </a:extLst>
          </p:cNvPr>
          <p:cNvSpPr txBox="1"/>
          <p:nvPr/>
        </p:nvSpPr>
        <p:spPr>
          <a:xfrm>
            <a:off x="1583548" y="3119098"/>
            <a:ext cx="2592914" cy="400110"/>
          </a:xfrm>
          <a:prstGeom prst="rect">
            <a:avLst/>
          </a:prstGeom>
          <a:noFill/>
        </p:spPr>
        <p:txBody>
          <a:bodyPr wrap="square">
            <a:spAutoFit/>
          </a:bodyPr>
          <a:lstStyle/>
          <a:p>
            <a:pPr marL="342900" indent="-342900">
              <a:buFont typeface="Wingdings" panose="05000000000000000000" pitchFamily="2" charset="2"/>
              <a:buChar char="Ø"/>
            </a:pPr>
            <a:r>
              <a:rPr lang="en-US" sz="2000" b="1" dirty="0">
                <a:solidFill>
                  <a:prstClr val="white"/>
                </a:solidFill>
                <a:latin typeface="Arial Black" panose="020B0A04020102020204" pitchFamily="34" charset="0"/>
                <a:ea typeface="+mn-ea"/>
                <a:cs typeface="Arial"/>
              </a:rPr>
              <a:t>CONSISTENCY</a:t>
            </a:r>
            <a:endParaRPr lang="en-US" sz="2000" dirty="0"/>
          </a:p>
        </p:txBody>
      </p:sp>
      <p:sp>
        <p:nvSpPr>
          <p:cNvPr id="16" name="TextBox 15">
            <a:extLst>
              <a:ext uri="{FF2B5EF4-FFF2-40B4-BE49-F238E27FC236}">
                <a16:creationId xmlns:a16="http://schemas.microsoft.com/office/drawing/2014/main" id="{AE90ACB8-2588-F42A-340C-7762F36CBF74}"/>
              </a:ext>
            </a:extLst>
          </p:cNvPr>
          <p:cNvSpPr txBox="1"/>
          <p:nvPr/>
        </p:nvSpPr>
        <p:spPr>
          <a:xfrm>
            <a:off x="1583548" y="3747487"/>
            <a:ext cx="6093372" cy="400110"/>
          </a:xfrm>
          <a:prstGeom prst="rect">
            <a:avLst/>
          </a:prstGeom>
          <a:noFill/>
        </p:spPr>
        <p:txBody>
          <a:bodyPr wrap="square">
            <a:spAutoFit/>
          </a:bodyPr>
          <a:lstStyle/>
          <a:p>
            <a:pPr marL="342900" marR="0" lvl="0" indent="-34290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000" b="1" dirty="0">
                <a:solidFill>
                  <a:prstClr val="white"/>
                </a:solidFill>
                <a:latin typeface="Arial Black" panose="020B0A04020102020204" pitchFamily="34" charset="0"/>
                <a:ea typeface="+mn-ea"/>
                <a:cs typeface="Arial"/>
              </a:rPr>
              <a:t>WINNING IN OUR OWN BACKYARD  </a:t>
            </a:r>
          </a:p>
        </p:txBody>
      </p:sp>
      <p:sp>
        <p:nvSpPr>
          <p:cNvPr id="3" name="TextBox 2">
            <a:extLst>
              <a:ext uri="{FF2B5EF4-FFF2-40B4-BE49-F238E27FC236}">
                <a16:creationId xmlns:a16="http://schemas.microsoft.com/office/drawing/2014/main" id="{55E7E2B3-745B-C1E3-5385-B16881879B96}"/>
              </a:ext>
            </a:extLst>
          </p:cNvPr>
          <p:cNvSpPr txBox="1"/>
          <p:nvPr/>
        </p:nvSpPr>
        <p:spPr>
          <a:xfrm>
            <a:off x="1579016" y="4987091"/>
            <a:ext cx="6097904" cy="369332"/>
          </a:xfrm>
          <a:prstGeom prst="rect">
            <a:avLst/>
          </a:prstGeom>
          <a:noFill/>
        </p:spPr>
        <p:txBody>
          <a:bodyPr wrap="square">
            <a:spAutoFit/>
          </a:bodyPr>
          <a:lstStyle/>
          <a:p>
            <a:pPr marL="342900" marR="0" lvl="0" indent="-34290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dirty="0">
                <a:ln>
                  <a:noFill/>
                </a:ln>
                <a:solidFill>
                  <a:prstClr val="white"/>
                </a:solidFill>
                <a:effectLst/>
                <a:uLnTx/>
                <a:uFillTx/>
                <a:latin typeface="Arial Black" panose="020B0A04020102020204" pitchFamily="34" charset="0"/>
                <a:cs typeface="Arial"/>
              </a:rPr>
              <a:t>MARKET THE STATE</a:t>
            </a:r>
            <a:endParaRPr kumimoji="0" lang="en-US" sz="1800" b="1"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endParaRPr>
          </a:p>
        </p:txBody>
      </p:sp>
    </p:spTree>
    <p:extLst>
      <p:ext uri="{BB962C8B-B14F-4D97-AF65-F5344CB8AC3E}">
        <p14:creationId xmlns:p14="http://schemas.microsoft.com/office/powerpoint/2010/main" val="1883809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C717B7-1E9C-2C47-B203-F5ED6CC0C7EC}"/>
              </a:ext>
            </a:extLst>
          </p:cNvPr>
          <p:cNvSpPr/>
          <p:nvPr/>
        </p:nvSpPr>
        <p:spPr>
          <a:xfrm>
            <a:off x="0" y="0"/>
            <a:ext cx="123685" cy="6858000"/>
          </a:xfrm>
          <a:prstGeom prst="rect">
            <a:avLst/>
          </a:prstGeom>
          <a:solidFill>
            <a:srgbClr val="0025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B4058B32-384A-40D9-952C-83D86D0BA30A}"/>
              </a:ext>
            </a:extLst>
          </p:cNvPr>
          <p:cNvSpPr txBox="1"/>
          <p:nvPr/>
        </p:nvSpPr>
        <p:spPr>
          <a:xfrm>
            <a:off x="123685" y="2676436"/>
            <a:ext cx="5252799" cy="1031165"/>
          </a:xfrm>
          <a:prstGeom prst="rect">
            <a:avLst/>
          </a:prstGeom>
          <a:noFill/>
        </p:spPr>
        <p:txBody>
          <a:bodyPr wrap="square" lIns="457200" tIns="457200" rIns="457200" bIns="4572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dirty="0">
                <a:solidFill>
                  <a:srgbClr val="002576"/>
                </a:solidFill>
                <a:latin typeface="Arial Black"/>
                <a:cs typeface="Arial Black" panose="020B0604020202020204" pitchFamily="34" charset="0"/>
              </a:rPr>
              <a:t>CONSISTENC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dirty="0">
                <a:solidFill>
                  <a:srgbClr val="002576"/>
                </a:solidFill>
                <a:latin typeface="Arial Black"/>
                <a:cs typeface="Arial Black" panose="020B0604020202020204" pitchFamily="34" charset="0"/>
              </a:rPr>
              <a:t>TEAM MICHIGAN APPROACH</a:t>
            </a:r>
            <a:endParaRPr kumimoji="0" lang="en-US" sz="3600" b="1" i="0" u="none" strike="noStrike" kern="1200" cap="none" spc="0" normalizeH="0" baseline="0" noProof="0" dirty="0">
              <a:ln>
                <a:noFill/>
              </a:ln>
              <a:solidFill>
                <a:srgbClr val="002576"/>
              </a:solidFill>
              <a:effectLst/>
              <a:uLnTx/>
              <a:uFillTx/>
              <a:latin typeface="Arial Black" panose="020B0604020202020204" pitchFamily="34" charset="0"/>
              <a:ea typeface="+mn-ea"/>
              <a:cs typeface="Arial Black" panose="020B0604020202020204" pitchFamily="34" charset="0"/>
            </a:endParaRPr>
          </a:p>
        </p:txBody>
      </p:sp>
      <p:cxnSp>
        <p:nvCxnSpPr>
          <p:cNvPr id="20" name="Straight Connector 19">
            <a:extLst>
              <a:ext uri="{FF2B5EF4-FFF2-40B4-BE49-F238E27FC236}">
                <a16:creationId xmlns:a16="http://schemas.microsoft.com/office/drawing/2014/main" id="{BB34C7B1-1663-42A8-930A-8E03DDEC153A}"/>
              </a:ext>
            </a:extLst>
          </p:cNvPr>
          <p:cNvCxnSpPr>
            <a:cxnSpLocks/>
          </p:cNvCxnSpPr>
          <p:nvPr/>
        </p:nvCxnSpPr>
        <p:spPr>
          <a:xfrm>
            <a:off x="645241" y="4050574"/>
            <a:ext cx="167001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descr="Chart, bubble chart&#10;&#10;Description automatically generated">
            <a:extLst>
              <a:ext uri="{FF2B5EF4-FFF2-40B4-BE49-F238E27FC236}">
                <a16:creationId xmlns:a16="http://schemas.microsoft.com/office/drawing/2014/main" id="{C2F62D6A-89B1-FEAE-698A-E5994722C063}"/>
              </a:ext>
            </a:extLst>
          </p:cNvPr>
          <p:cNvPicPr>
            <a:picLocks noChangeAspect="1"/>
          </p:cNvPicPr>
          <p:nvPr/>
        </p:nvPicPr>
        <p:blipFill rotWithShape="1">
          <a:blip r:embed="rId3">
            <a:extLst>
              <a:ext uri="{28A0092B-C50C-407E-A947-70E740481C1C}">
                <a14:useLocalDpi xmlns:a14="http://schemas.microsoft.com/office/drawing/2010/main" val="0"/>
              </a:ext>
            </a:extLst>
          </a:blip>
          <a:srcRect t="1582" b="4406"/>
          <a:stretch/>
        </p:blipFill>
        <p:spPr>
          <a:xfrm>
            <a:off x="4897464" y="61994"/>
            <a:ext cx="7170851" cy="6741409"/>
          </a:xfrm>
          <a:prstGeom prst="rect">
            <a:avLst/>
          </a:prstGeom>
        </p:spPr>
      </p:pic>
    </p:spTree>
    <p:extLst>
      <p:ext uri="{BB962C8B-B14F-4D97-AF65-F5344CB8AC3E}">
        <p14:creationId xmlns:p14="http://schemas.microsoft.com/office/powerpoint/2010/main" val="2774452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7FE0480-7D55-587E-7A41-9B68FAB4D36C}"/>
              </a:ext>
            </a:extLst>
          </p:cNvPr>
          <p:cNvSpPr/>
          <p:nvPr/>
        </p:nvSpPr>
        <p:spPr>
          <a:xfrm>
            <a:off x="723183" y="3765913"/>
            <a:ext cx="4209006" cy="1754326"/>
          </a:xfrm>
          <a:prstGeom prst="rect">
            <a:avLst/>
          </a:prstGeom>
        </p:spPr>
        <p:txBody>
          <a:bodyPr wrap="square" lIns="0" rIns="0" anchor="t">
            <a:spAutoFit/>
          </a:bodyPr>
          <a:lstStyle/>
          <a:p>
            <a:pPr marR="0" lvl="0" algn="l" defTabSz="914400" rtl="0" eaLnBrk="1" fontAlgn="auto" latinLnBrk="0" hangingPunct="1">
              <a:lnSpc>
                <a:spcPct val="100000"/>
              </a:lnSpc>
              <a:spcBef>
                <a:spcPts val="500"/>
              </a:spcBef>
              <a:spcAft>
                <a:spcPts val="0"/>
              </a:spcAft>
              <a:buClrTx/>
              <a:buSzTx/>
              <a:tabLst/>
              <a:defRPr/>
            </a:pPr>
            <a:r>
              <a:rPr kumimoji="0" lang="en-US" sz="1800" b="0" i="0" u="none" strike="noStrike" kern="1200" cap="none" spc="0" normalizeH="0" baseline="0" noProof="0" dirty="0">
                <a:ln>
                  <a:noFill/>
                </a:ln>
                <a:solidFill>
                  <a:srgbClr val="002576"/>
                </a:solidFill>
                <a:effectLst/>
                <a:uLnTx/>
                <a:uFillTx/>
                <a:latin typeface="Arial" panose="020B0604020202020204" pitchFamily="34" charset="0"/>
                <a:ea typeface="Open Sans" panose="020B0606030504020204" pitchFamily="34" charset="0"/>
                <a:cs typeface="Arial" panose="020B0604020202020204" pitchFamily="34" charset="0"/>
              </a:rPr>
              <a:t>Supporting micro, </a:t>
            </a:r>
            <a:r>
              <a:rPr lang="en-US" dirty="0">
                <a:solidFill>
                  <a:srgbClr val="002576"/>
                </a:solidFill>
                <a:latin typeface="Arial" panose="020B0604020202020204" pitchFamily="34" charset="0"/>
                <a:ea typeface="Open Sans" panose="020B0606030504020204" pitchFamily="34" charset="0"/>
                <a:cs typeface="Arial" panose="020B0604020202020204" pitchFamily="34" charset="0"/>
              </a:rPr>
              <a:t>early-stage</a:t>
            </a:r>
            <a:r>
              <a:rPr kumimoji="0" lang="en-US" sz="1800" b="0" i="0" u="none" strike="noStrike" kern="1200" cap="none" spc="0" normalizeH="0" baseline="0" noProof="0" dirty="0">
                <a:ln>
                  <a:noFill/>
                </a:ln>
                <a:solidFill>
                  <a:srgbClr val="002576"/>
                </a:solidFill>
                <a:effectLst/>
                <a:uLnTx/>
                <a:uFillTx/>
                <a:latin typeface="Arial" panose="020B0604020202020204" pitchFamily="34" charset="0"/>
                <a:ea typeface="Open Sans" panose="020B0606030504020204" pitchFamily="34" charset="0"/>
                <a:cs typeface="Arial" panose="020B0604020202020204" pitchFamily="34" charset="0"/>
              </a:rPr>
              <a:t>, second-stage and growth-stage companies to find capital, help to implement systems and technology, establish and diversify customer base and help find the talent needed.</a:t>
            </a:r>
          </a:p>
        </p:txBody>
      </p:sp>
      <p:sp>
        <p:nvSpPr>
          <p:cNvPr id="48" name="TextBox 47">
            <a:extLst>
              <a:ext uri="{FF2B5EF4-FFF2-40B4-BE49-F238E27FC236}">
                <a16:creationId xmlns:a16="http://schemas.microsoft.com/office/drawing/2014/main" id="{A222FEF8-CAC4-45CC-028F-42B434AA2571}"/>
              </a:ext>
            </a:extLst>
          </p:cNvPr>
          <p:cNvSpPr txBox="1"/>
          <p:nvPr/>
        </p:nvSpPr>
        <p:spPr>
          <a:xfrm>
            <a:off x="723183" y="1248629"/>
            <a:ext cx="4606305" cy="1815882"/>
          </a:xfrm>
          <a:prstGeom prst="rect">
            <a:avLst/>
          </a:prstGeom>
          <a:noFill/>
        </p:spPr>
        <p:txBody>
          <a:bodyPr wrap="square" rtlCol="0">
            <a:spAutoFit/>
          </a:bodyPr>
          <a:lstStyle/>
          <a:p>
            <a:pPr>
              <a:defRPr/>
            </a:pPr>
            <a:r>
              <a:rPr lang="en-US" sz="2800" dirty="0">
                <a:solidFill>
                  <a:srgbClr val="002576"/>
                </a:solidFill>
                <a:latin typeface="Arial Black" panose="020B0A04020102020204" pitchFamily="34" charset="0"/>
              </a:rPr>
              <a:t>WINNING IN OUR </a:t>
            </a:r>
          </a:p>
          <a:p>
            <a:pPr>
              <a:defRPr/>
            </a:pPr>
            <a:r>
              <a:rPr lang="en-US" sz="2800" dirty="0">
                <a:solidFill>
                  <a:srgbClr val="002576"/>
                </a:solidFill>
                <a:latin typeface="Arial Black" panose="020B0A04020102020204" pitchFamily="34" charset="0"/>
              </a:rPr>
              <a:t>OWN BACKYARD: SUPPORTING SMALL BUSINESS</a:t>
            </a:r>
          </a:p>
        </p:txBody>
      </p:sp>
      <p:cxnSp>
        <p:nvCxnSpPr>
          <p:cNvPr id="55" name="Straight Connector 54">
            <a:extLst>
              <a:ext uri="{FF2B5EF4-FFF2-40B4-BE49-F238E27FC236}">
                <a16:creationId xmlns:a16="http://schemas.microsoft.com/office/drawing/2014/main" id="{6DCB7161-5E33-0032-E199-85C94491E93D}"/>
              </a:ext>
            </a:extLst>
          </p:cNvPr>
          <p:cNvCxnSpPr>
            <a:cxnSpLocks/>
          </p:cNvCxnSpPr>
          <p:nvPr/>
        </p:nvCxnSpPr>
        <p:spPr>
          <a:xfrm>
            <a:off x="793188" y="3429000"/>
            <a:ext cx="167001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5FDA5BB3-E4E5-B398-1B18-940C5FAB1F17}"/>
              </a:ext>
            </a:extLst>
          </p:cNvPr>
          <p:cNvGraphicFramePr/>
          <p:nvPr>
            <p:extLst>
              <p:ext uri="{D42A27DB-BD31-4B8C-83A1-F6EECF244321}">
                <p14:modId xmlns:p14="http://schemas.microsoft.com/office/powerpoint/2010/main" val="3492901428"/>
              </p:ext>
            </p:extLst>
          </p:nvPr>
        </p:nvGraphicFramePr>
        <p:xfrm>
          <a:off x="3799488" y="602159"/>
          <a:ext cx="9026633" cy="60177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EC00DB78-3BCB-8709-4618-C100783D87D1}"/>
              </a:ext>
            </a:extLst>
          </p:cNvPr>
          <p:cNvSpPr/>
          <p:nvPr/>
        </p:nvSpPr>
        <p:spPr>
          <a:xfrm>
            <a:off x="0" y="0"/>
            <a:ext cx="123685" cy="6858000"/>
          </a:xfrm>
          <a:prstGeom prst="rect">
            <a:avLst/>
          </a:prstGeom>
          <a:solidFill>
            <a:srgbClr val="0025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42214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37A03A-3666-4C47-B293-09E3F65AEBF9}"/>
              </a:ext>
            </a:extLst>
          </p:cNvPr>
          <p:cNvSpPr/>
          <p:nvPr/>
        </p:nvSpPr>
        <p:spPr>
          <a:xfrm>
            <a:off x="4981902" y="7393"/>
            <a:ext cx="7210075" cy="68174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76DA6218-268B-E64D-AE13-9F2AD6BEB299}"/>
              </a:ext>
            </a:extLst>
          </p:cNvPr>
          <p:cNvSpPr txBox="1">
            <a:spLocks/>
          </p:cNvSpPr>
          <p:nvPr/>
        </p:nvSpPr>
        <p:spPr bwMode="gray">
          <a:xfrm>
            <a:off x="22" y="0"/>
            <a:ext cx="6206468" cy="6857999"/>
          </a:xfrm>
          <a:prstGeom prst="rect">
            <a:avLst/>
          </a:prstGeom>
          <a:solidFill>
            <a:srgbClr val="002576"/>
          </a:solidFill>
          <a:ln>
            <a:noFill/>
          </a:ln>
          <a:effectLst/>
        </p:spPr>
        <p:txBody>
          <a:bodyPr vert="horz" wrap="square" lIns="914400" tIns="45720" rIns="91440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1218026" rtl="0" eaLnBrk="1" fontAlgn="base" latinLnBrk="0" hangingPunct="1">
              <a:lnSpc>
                <a:spcPct val="100000"/>
              </a:lnSpc>
              <a:spcBef>
                <a:spcPct val="0"/>
              </a:spcBef>
              <a:spcAft>
                <a:spcPct val="0"/>
              </a:spcAft>
              <a:buClrTx/>
              <a:buSzTx/>
              <a:buFontTx/>
              <a:buNone/>
              <a:tabLst>
                <a:tab pos="367135" algn="l"/>
              </a:tabLst>
              <a:defRPr/>
            </a:pPr>
            <a:r>
              <a:rPr lang="en-US" sz="3400" dirty="0">
                <a:solidFill>
                  <a:prstClr val="white"/>
                </a:solidFill>
              </a:rPr>
              <a:t>WINNING IN OUR OWN BACKYARD: OFFICE OF RURAL DEVELOPMENT</a:t>
            </a:r>
            <a:endParaRPr kumimoji="0" lang="en-US" sz="3400" b="1" i="0" u="none" strike="noStrike" kern="1200" cap="none" spc="0" normalizeH="0" baseline="0" noProof="0" dirty="0">
              <a:ln>
                <a:noFill/>
              </a:ln>
              <a:solidFill>
                <a:prstClr val="white"/>
              </a:solidFill>
              <a:effectLst/>
              <a:uLnTx/>
              <a:uFillTx/>
              <a:latin typeface="Arial Black" panose="020B0604020202020204" pitchFamily="34" charset="0"/>
              <a:ea typeface="+mj-ea"/>
            </a:endParaRPr>
          </a:p>
        </p:txBody>
      </p:sp>
      <p:sp>
        <p:nvSpPr>
          <p:cNvPr id="19" name="Content Placeholder 2">
            <a:extLst>
              <a:ext uri="{FF2B5EF4-FFF2-40B4-BE49-F238E27FC236}">
                <a16:creationId xmlns:a16="http://schemas.microsoft.com/office/drawing/2014/main" id="{EFFA663D-EF98-429B-A159-8492F9B3B660}"/>
              </a:ext>
            </a:extLst>
          </p:cNvPr>
          <p:cNvSpPr txBox="1">
            <a:spLocks/>
          </p:cNvSpPr>
          <p:nvPr/>
        </p:nvSpPr>
        <p:spPr>
          <a:xfrm>
            <a:off x="6448097" y="3113648"/>
            <a:ext cx="5743881" cy="2554545"/>
          </a:xfrm>
          <a:prstGeom prst="rect">
            <a:avLst/>
          </a:prstGeom>
        </p:spPr>
        <p:txBody>
          <a:bodyPr wrap="square">
            <a:spAutoFit/>
          </a:bodyPr>
          <a:lst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kumimoji="0" lang="en-US" sz="2000" b="1" i="0" u="none" strike="noStrike" kern="0" cap="none" spc="0" normalizeH="0" baseline="0" noProof="0" dirty="0">
                <a:ln>
                  <a:noFill/>
                </a:ln>
                <a:solidFill>
                  <a:srgbClr val="002576"/>
                </a:solidFill>
                <a:effectLst/>
                <a:uLnTx/>
                <a:uFillTx/>
                <a:latin typeface="Arial" panose="020B0604020202020204" pitchFamily="34" charset="0"/>
                <a:cs typeface="Arial" panose="020B0604020202020204" pitchFamily="34" charset="0"/>
              </a:rPr>
              <a:t>Economic and Workforce Development</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lang="en-US" sz="2000" b="1" kern="0" dirty="0">
                <a:solidFill>
                  <a:srgbClr val="002576"/>
                </a:solidFill>
                <a:latin typeface="Arial" panose="020B0604020202020204" pitchFamily="34" charset="0"/>
                <a:cs typeface="Arial" panose="020B0604020202020204" pitchFamily="34" charset="0"/>
              </a:rPr>
              <a:t>Infrastructure</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lang="en-US" sz="2000" b="1" kern="0" dirty="0">
                <a:solidFill>
                  <a:srgbClr val="002576"/>
                </a:solidFill>
                <a:latin typeface="Arial" panose="020B0604020202020204" pitchFamily="34" charset="0"/>
                <a:cs typeface="Arial" panose="020B0604020202020204" pitchFamily="34" charset="0"/>
              </a:rPr>
              <a:t>High-speed Internet</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kumimoji="0" lang="en-US" sz="2000" b="1" i="0" u="none" strike="noStrike" kern="0" cap="none" spc="0" normalizeH="0" baseline="0" noProof="0" dirty="0">
                <a:ln>
                  <a:noFill/>
                </a:ln>
                <a:solidFill>
                  <a:srgbClr val="002576"/>
                </a:solidFill>
                <a:effectLst/>
                <a:uLnTx/>
                <a:uFillTx/>
                <a:latin typeface="Arial" panose="020B0604020202020204" pitchFamily="34" charset="0"/>
                <a:cs typeface="Arial" panose="020B0604020202020204" pitchFamily="34" charset="0"/>
              </a:rPr>
              <a:t>Public Health</a:t>
            </a:r>
          </a:p>
          <a:p>
            <a:pPr marL="342900" marR="0" lvl="0" indent="-342900" algn="l" defTabSz="1218026" rtl="0" eaLnBrk="1" fontAlgn="base" latinLnBrk="0" hangingPunct="1">
              <a:lnSpc>
                <a:spcPct val="100000"/>
              </a:lnSpc>
              <a:spcBef>
                <a:spcPts val="600"/>
              </a:spcBef>
              <a:spcAft>
                <a:spcPts val="1200"/>
              </a:spcAft>
              <a:buClr>
                <a:srgbClr val="44546A"/>
              </a:buClr>
              <a:buSzPct val="100000"/>
              <a:buFont typeface="Arial" panose="020B0604020202020204" pitchFamily="34" charset="0"/>
              <a:buChar char="•"/>
              <a:tabLst/>
              <a:defRPr/>
            </a:pPr>
            <a:r>
              <a:rPr lang="en-US" sz="2000" b="1" kern="0" dirty="0">
                <a:solidFill>
                  <a:srgbClr val="002576"/>
                </a:solidFill>
                <a:latin typeface="Arial" panose="020B0604020202020204" pitchFamily="34" charset="0"/>
                <a:cs typeface="Arial" panose="020B0604020202020204" pitchFamily="34" charset="0"/>
              </a:rPr>
              <a:t>Environmental Sustainability</a:t>
            </a:r>
            <a:endParaRPr kumimoji="0" lang="en-US" sz="2000" b="1" i="0" u="none" strike="noStrike" kern="0" cap="none" spc="0" normalizeH="0" baseline="0" noProof="0" dirty="0">
              <a:ln>
                <a:noFill/>
              </a:ln>
              <a:solidFill>
                <a:srgbClr val="002576"/>
              </a:solidFill>
              <a:effectLst/>
              <a:uLnTx/>
              <a:uFillTx/>
              <a:latin typeface="Arial" panose="020B0604020202020204" pitchFamily="34" charset="0"/>
              <a:cs typeface="Arial" panose="020B0604020202020204" pitchFamily="34" charset="0"/>
            </a:endParaRPr>
          </a:p>
        </p:txBody>
      </p:sp>
      <p:sp>
        <p:nvSpPr>
          <p:cNvPr id="8" name="Content Placeholder 2">
            <a:extLst>
              <a:ext uri="{FF2B5EF4-FFF2-40B4-BE49-F238E27FC236}">
                <a16:creationId xmlns:a16="http://schemas.microsoft.com/office/drawing/2014/main" id="{B4CCF6DA-92FE-76F1-DA6E-E5736784626D}"/>
              </a:ext>
            </a:extLst>
          </p:cNvPr>
          <p:cNvSpPr txBox="1">
            <a:spLocks/>
          </p:cNvSpPr>
          <p:nvPr/>
        </p:nvSpPr>
        <p:spPr>
          <a:xfrm>
            <a:off x="6448096" y="1603058"/>
            <a:ext cx="5743881" cy="707886"/>
          </a:xfrm>
          <a:prstGeom prst="rect">
            <a:avLst/>
          </a:prstGeom>
        </p:spPr>
        <p:txBody>
          <a:bodyPr wrap="square">
            <a:spAutoFit/>
          </a:bodyPr>
          <a:lst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R="0" lvl="0" algn="l" defTabSz="1218026" rtl="0" eaLnBrk="1" fontAlgn="base" latinLnBrk="0" hangingPunct="1">
              <a:lnSpc>
                <a:spcPct val="100000"/>
              </a:lnSpc>
              <a:spcBef>
                <a:spcPts val="600"/>
              </a:spcBef>
              <a:spcAft>
                <a:spcPts val="1200"/>
              </a:spcAft>
              <a:buClr>
                <a:srgbClr val="44546A"/>
              </a:buClr>
              <a:buSzPct val="100000"/>
              <a:tabLst/>
              <a:defRPr/>
            </a:pPr>
            <a:r>
              <a:rPr lang="en-US" sz="2000" b="1" kern="0" dirty="0">
                <a:solidFill>
                  <a:srgbClr val="002576"/>
                </a:solidFill>
                <a:latin typeface="Arial Black" panose="020B0604020202020204" pitchFamily="34" charset="0"/>
                <a:cs typeface="Arial" panose="020B0604020202020204" pitchFamily="34" charset="0"/>
              </a:rPr>
              <a:t>FOCUSING ON THE STRATEGIC </a:t>
            </a:r>
            <a:br>
              <a:rPr lang="en-US" sz="2000" b="1" kern="0" dirty="0">
                <a:solidFill>
                  <a:srgbClr val="002576"/>
                </a:solidFill>
                <a:latin typeface="Arial Black" panose="020B0604020202020204" pitchFamily="34" charset="0"/>
                <a:cs typeface="Arial" panose="020B0604020202020204" pitchFamily="34" charset="0"/>
              </a:rPr>
            </a:br>
            <a:r>
              <a:rPr lang="en-US" sz="2000" b="1" kern="0" dirty="0">
                <a:solidFill>
                  <a:srgbClr val="002576"/>
                </a:solidFill>
                <a:latin typeface="Arial Black" panose="020B0604020202020204" pitchFamily="34" charset="0"/>
                <a:cs typeface="Arial" panose="020B0604020202020204" pitchFamily="34" charset="0"/>
              </a:rPr>
              <a:t>NEEDS OF RURAL MICHIGAN</a:t>
            </a:r>
            <a:endParaRPr kumimoji="0" lang="en-US" sz="2000" b="1" i="0" u="none" strike="noStrike" kern="0" cap="none" spc="0" normalizeH="0" baseline="0" noProof="0" dirty="0">
              <a:ln>
                <a:noFill/>
              </a:ln>
              <a:solidFill>
                <a:srgbClr val="002576"/>
              </a:solidFill>
              <a:effectLst/>
              <a:uLnTx/>
              <a:uFillTx/>
              <a:latin typeface="Arial" panose="020B0604020202020204" pitchFamily="34" charset="0"/>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2F7B3DBF-F7D1-A651-277B-CC99C3D0BA20}"/>
              </a:ext>
            </a:extLst>
          </p:cNvPr>
          <p:cNvCxnSpPr>
            <a:cxnSpLocks/>
          </p:cNvCxnSpPr>
          <p:nvPr/>
        </p:nvCxnSpPr>
        <p:spPr>
          <a:xfrm>
            <a:off x="6604606" y="2694739"/>
            <a:ext cx="167001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284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AE11FFC7-C937-488F-9FB0-AADC8321FB43}"/>
              </a:ext>
            </a:extLst>
          </p:cNvPr>
          <p:cNvSpPr/>
          <p:nvPr/>
        </p:nvSpPr>
        <p:spPr>
          <a:xfrm>
            <a:off x="1163977" y="3343911"/>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AED0BD30-E0B3-A1FE-340C-B6A1D0402707}"/>
              </a:ext>
            </a:extLst>
          </p:cNvPr>
          <p:cNvSpPr/>
          <p:nvPr/>
        </p:nvSpPr>
        <p:spPr>
          <a:xfrm>
            <a:off x="3782388" y="3343911"/>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240267CD-F6EB-215C-EDDA-F34E8EEF62E4}"/>
              </a:ext>
            </a:extLst>
          </p:cNvPr>
          <p:cNvSpPr/>
          <p:nvPr/>
        </p:nvSpPr>
        <p:spPr>
          <a:xfrm>
            <a:off x="6554166" y="3343911"/>
            <a:ext cx="1168556" cy="1119617"/>
          </a:xfrm>
          <a:prstGeom prst="ellipse">
            <a:avLst/>
          </a:prstGeom>
          <a:solidFill>
            <a:srgbClr val="E6E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476"/>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12CB4ABE-2787-994E-862F-95D19091B506}"/>
              </a:ext>
            </a:extLst>
          </p:cNvPr>
          <p:cNvCxnSpPr>
            <a:cxnSpLocks/>
          </p:cNvCxnSpPr>
          <p:nvPr/>
        </p:nvCxnSpPr>
        <p:spPr>
          <a:xfrm>
            <a:off x="1052022" y="2458652"/>
            <a:ext cx="1349298" cy="0"/>
          </a:xfrm>
          <a:prstGeom prst="line">
            <a:avLst/>
          </a:prstGeom>
          <a:ln w="101600">
            <a:solidFill>
              <a:srgbClr val="2A4E9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C0E8396C-BF3E-D743-8326-B7298E2292E8}"/>
              </a:ext>
            </a:extLst>
          </p:cNvPr>
          <p:cNvPicPr>
            <a:picLocks noChangeAspect="1"/>
          </p:cNvPicPr>
          <p:nvPr/>
        </p:nvPicPr>
        <p:blipFill>
          <a:blip r:embed="rId4"/>
          <a:stretch>
            <a:fillRect/>
          </a:stretch>
        </p:blipFill>
        <p:spPr>
          <a:xfrm>
            <a:off x="6400800" y="531904"/>
            <a:ext cx="5009322" cy="5794192"/>
          </a:xfrm>
          <a:prstGeom prst="rect">
            <a:avLst/>
          </a:prstGeom>
        </p:spPr>
      </p:pic>
      <p:sp>
        <p:nvSpPr>
          <p:cNvPr id="2" name="TextBox 1">
            <a:extLst>
              <a:ext uri="{FF2B5EF4-FFF2-40B4-BE49-F238E27FC236}">
                <a16:creationId xmlns:a16="http://schemas.microsoft.com/office/drawing/2014/main" id="{AF3F3B93-BBB8-315E-E3ED-2856EA2CD7D3}"/>
              </a:ext>
            </a:extLst>
          </p:cNvPr>
          <p:cNvSpPr txBox="1"/>
          <p:nvPr/>
        </p:nvSpPr>
        <p:spPr>
          <a:xfrm>
            <a:off x="981306" y="829311"/>
            <a:ext cx="674141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WINNING IN OUR OWN BACKYARD: REGIONAL PROSPERITY</a:t>
            </a:r>
          </a:p>
        </p:txBody>
      </p:sp>
      <p:sp>
        <p:nvSpPr>
          <p:cNvPr id="25" name="TextBox 24">
            <a:extLst>
              <a:ext uri="{FF2B5EF4-FFF2-40B4-BE49-F238E27FC236}">
                <a16:creationId xmlns:a16="http://schemas.microsoft.com/office/drawing/2014/main" id="{97B79055-E748-FBFC-9A5D-13587EB6388A}"/>
              </a:ext>
            </a:extLst>
          </p:cNvPr>
          <p:cNvSpPr txBox="1"/>
          <p:nvPr/>
        </p:nvSpPr>
        <p:spPr>
          <a:xfrm>
            <a:off x="657884" y="4658593"/>
            <a:ext cx="208531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alibri" panose="020F0502020204030204"/>
                <a:ea typeface="+mn-ea"/>
                <a:cs typeface="+mn-cs"/>
              </a:rPr>
              <a:t>Transformational</a:t>
            </a:r>
          </a:p>
        </p:txBody>
      </p:sp>
      <p:pic>
        <p:nvPicPr>
          <p:cNvPr id="26" name="Picture 8" descr="Trophy outline">
            <a:extLst>
              <a:ext uri="{FF2B5EF4-FFF2-40B4-BE49-F238E27FC236}">
                <a16:creationId xmlns:a16="http://schemas.microsoft.com/office/drawing/2014/main" id="{A250822C-6C50-15E3-4DF0-8828BC9E1B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279500" y="3496577"/>
            <a:ext cx="925105" cy="925105"/>
          </a:xfrm>
          <a:prstGeom prst="rect">
            <a:avLst/>
          </a:prstGeom>
        </p:spPr>
      </p:pic>
      <p:sp>
        <p:nvSpPr>
          <p:cNvPr id="27" name="TextBox 26">
            <a:extLst>
              <a:ext uri="{FF2B5EF4-FFF2-40B4-BE49-F238E27FC236}">
                <a16:creationId xmlns:a16="http://schemas.microsoft.com/office/drawing/2014/main" id="{91360E6C-38E2-D98D-50CF-6949C5ED50DB}"/>
              </a:ext>
            </a:extLst>
          </p:cNvPr>
          <p:cNvSpPr txBox="1"/>
          <p:nvPr/>
        </p:nvSpPr>
        <p:spPr>
          <a:xfrm>
            <a:off x="3302359" y="4643695"/>
            <a:ext cx="216897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alibri" panose="020F0502020204030204"/>
                <a:ea typeface="+mn-ea"/>
                <a:cs typeface="+mn-cs"/>
              </a:rPr>
              <a:t>Customer-focused</a:t>
            </a:r>
          </a:p>
        </p:txBody>
      </p:sp>
      <p:pic>
        <p:nvPicPr>
          <p:cNvPr id="28" name="Picture 8" descr="Call center outline">
            <a:extLst>
              <a:ext uri="{FF2B5EF4-FFF2-40B4-BE49-F238E27FC236}">
                <a16:creationId xmlns:a16="http://schemas.microsoft.com/office/drawing/2014/main" id="{35C866B9-9E31-FA9A-FDC3-1F676F6A21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3909416" y="3434400"/>
            <a:ext cx="954863" cy="954863"/>
          </a:xfrm>
          <a:prstGeom prst="rect">
            <a:avLst/>
          </a:prstGeom>
        </p:spPr>
      </p:pic>
      <p:sp>
        <p:nvSpPr>
          <p:cNvPr id="29" name="TextBox 28">
            <a:extLst>
              <a:ext uri="{FF2B5EF4-FFF2-40B4-BE49-F238E27FC236}">
                <a16:creationId xmlns:a16="http://schemas.microsoft.com/office/drawing/2014/main" id="{B9F4FDD0-2204-27A0-F8F3-012406D70AF7}"/>
              </a:ext>
            </a:extLst>
          </p:cNvPr>
          <p:cNvSpPr txBox="1"/>
          <p:nvPr/>
        </p:nvSpPr>
        <p:spPr>
          <a:xfrm>
            <a:off x="5637525" y="4658593"/>
            <a:ext cx="303153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Calibri" panose="020F0502020204030204"/>
                <a:ea typeface="+mn-ea"/>
                <a:cs typeface="+mn-cs"/>
              </a:rPr>
              <a:t>Ingenuity and Innovation</a:t>
            </a:r>
          </a:p>
        </p:txBody>
      </p:sp>
      <p:pic>
        <p:nvPicPr>
          <p:cNvPr id="30" name="Picture 8" descr="Lightbulb and gear outline">
            <a:extLst>
              <a:ext uri="{FF2B5EF4-FFF2-40B4-BE49-F238E27FC236}">
                <a16:creationId xmlns:a16="http://schemas.microsoft.com/office/drawing/2014/main" id="{5B9CD708-F728-A530-E012-E6663AED4D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668380" y="3481698"/>
            <a:ext cx="954863" cy="954863"/>
          </a:xfrm>
          <a:prstGeom prst="rect">
            <a:avLst/>
          </a:prstGeom>
        </p:spPr>
      </p:pic>
    </p:spTree>
    <p:extLst>
      <p:ext uri="{BB962C8B-B14F-4D97-AF65-F5344CB8AC3E}">
        <p14:creationId xmlns:p14="http://schemas.microsoft.com/office/powerpoint/2010/main" val="2780588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NAME" val="ACET"/>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ANGLE" val="5"/>
</p:tagLst>
</file>

<file path=ppt/tags/tag121.xml><?xml version="1.0" encoding="utf-8"?>
<p:tagLst xmlns:a="http://schemas.openxmlformats.org/drawingml/2006/main" xmlns:r="http://schemas.openxmlformats.org/officeDocument/2006/relationships" xmlns:p="http://schemas.openxmlformats.org/presentationml/2006/main">
  <p:tag name="ANGLE" val="5"/>
</p:tagLst>
</file>

<file path=ppt/tags/tag122.xml><?xml version="1.0" encoding="utf-8"?>
<p:tagLst xmlns:a="http://schemas.openxmlformats.org/drawingml/2006/main" xmlns:r="http://schemas.openxmlformats.org/officeDocument/2006/relationships" xmlns:p="http://schemas.openxmlformats.org/presentationml/2006/main">
  <p:tag name="ANGLE" val="4"/>
</p:tagLst>
</file>

<file path=ppt/tags/tag123.xml><?xml version="1.0" encoding="utf-8"?>
<p:tagLst xmlns:a="http://schemas.openxmlformats.org/drawingml/2006/main" xmlns:r="http://schemas.openxmlformats.org/officeDocument/2006/relationships" xmlns:p="http://schemas.openxmlformats.org/presentationml/2006/main">
  <p:tag name="ANGLE" val="4"/>
</p:tagLst>
</file>

<file path=ppt/tags/tag124.xml><?xml version="1.0" encoding="utf-8"?>
<p:tagLst xmlns:a="http://schemas.openxmlformats.org/drawingml/2006/main" xmlns:r="http://schemas.openxmlformats.org/officeDocument/2006/relationships" xmlns:p="http://schemas.openxmlformats.org/presentationml/2006/main">
  <p:tag name="ANGLE" val="3"/>
</p:tagLst>
</file>

<file path=ppt/tags/tag125.xml><?xml version="1.0" encoding="utf-8"?>
<p:tagLst xmlns:a="http://schemas.openxmlformats.org/drawingml/2006/main" xmlns:r="http://schemas.openxmlformats.org/officeDocument/2006/relationships" xmlns:p="http://schemas.openxmlformats.org/presentationml/2006/main">
  <p:tag name="ANGLE" val="3"/>
</p:tagLst>
</file>

<file path=ppt/tags/tag126.xml><?xml version="1.0" encoding="utf-8"?>
<p:tagLst xmlns:a="http://schemas.openxmlformats.org/drawingml/2006/main" xmlns:r="http://schemas.openxmlformats.org/officeDocument/2006/relationships" xmlns:p="http://schemas.openxmlformats.org/presentationml/2006/main">
  <p:tag name="ANGLE" val="2"/>
</p:tagLst>
</file>

<file path=ppt/tags/tag127.xml><?xml version="1.0" encoding="utf-8"?>
<p:tagLst xmlns:a="http://schemas.openxmlformats.org/drawingml/2006/main" xmlns:r="http://schemas.openxmlformats.org/officeDocument/2006/relationships" xmlns:p="http://schemas.openxmlformats.org/presentationml/2006/main">
  <p:tag name="ANGLE" val="2"/>
</p:tagLst>
</file>

<file path=ppt/tags/tag128.xml><?xml version="1.0" encoding="utf-8"?>
<p:tagLst xmlns:a="http://schemas.openxmlformats.org/drawingml/2006/main" xmlns:r="http://schemas.openxmlformats.org/officeDocument/2006/relationships" xmlns:p="http://schemas.openxmlformats.org/presentationml/2006/main">
  <p:tag name="ANGLE" val="1"/>
</p:tagLst>
</file>

<file path=ppt/tags/tag129.xml><?xml version="1.0" encoding="utf-8"?>
<p:tagLst xmlns:a="http://schemas.openxmlformats.org/drawingml/2006/main" xmlns:r="http://schemas.openxmlformats.org/officeDocument/2006/relationships" xmlns:p="http://schemas.openxmlformats.org/presentationml/2006/main">
  <p:tag name="ANGLE" val="1"/>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xml><?xml version="1.0" encoding="utf-8"?>
<p:tagLst xmlns:a="http://schemas.openxmlformats.org/drawingml/2006/main" xmlns:r="http://schemas.openxmlformats.org/officeDocument/2006/relationships" xmlns:p="http://schemas.openxmlformats.org/presentationml/2006/main">
  <p:tag name="SHAPENAME" val="Subtitle"/>
</p:tagLst>
</file>

<file path=ppt/tags/tag134.xml><?xml version="1.0" encoding="utf-8"?>
<p:tagLst xmlns:a="http://schemas.openxmlformats.org/drawingml/2006/main" xmlns:r="http://schemas.openxmlformats.org/officeDocument/2006/relationships" xmlns:p="http://schemas.openxmlformats.org/presentationml/2006/main">
  <p:tag name="SHAPENAME" val="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xml><?xml version="1.0" encoding="utf-8"?>
<p:tagLst xmlns:a="http://schemas.openxmlformats.org/drawingml/2006/main" xmlns:r="http://schemas.openxmlformats.org/officeDocument/2006/relationships" xmlns:p="http://schemas.openxmlformats.org/presentationml/2006/main">
  <p:tag name="NAME" val="ACET"/>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ANGLE" val="5"/>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ANGLE" val="5"/>
</p:tagLst>
</file>

<file path=ppt/tags/tag231.xml><?xml version="1.0" encoding="utf-8"?>
<p:tagLst xmlns:a="http://schemas.openxmlformats.org/drawingml/2006/main" xmlns:r="http://schemas.openxmlformats.org/officeDocument/2006/relationships" xmlns:p="http://schemas.openxmlformats.org/presentationml/2006/main">
  <p:tag name="ANGLE" val="4"/>
</p:tagLst>
</file>

<file path=ppt/tags/tag232.xml><?xml version="1.0" encoding="utf-8"?>
<p:tagLst xmlns:a="http://schemas.openxmlformats.org/drawingml/2006/main" xmlns:r="http://schemas.openxmlformats.org/officeDocument/2006/relationships" xmlns:p="http://schemas.openxmlformats.org/presentationml/2006/main">
  <p:tag name="ANGLE" val="4"/>
</p:tagLst>
</file>

<file path=ppt/tags/tag233.xml><?xml version="1.0" encoding="utf-8"?>
<p:tagLst xmlns:a="http://schemas.openxmlformats.org/drawingml/2006/main" xmlns:r="http://schemas.openxmlformats.org/officeDocument/2006/relationships" xmlns:p="http://schemas.openxmlformats.org/presentationml/2006/main">
  <p:tag name="ANGLE" val="3"/>
</p:tagLst>
</file>

<file path=ppt/tags/tag234.xml><?xml version="1.0" encoding="utf-8"?>
<p:tagLst xmlns:a="http://schemas.openxmlformats.org/drawingml/2006/main" xmlns:r="http://schemas.openxmlformats.org/officeDocument/2006/relationships" xmlns:p="http://schemas.openxmlformats.org/presentationml/2006/main">
  <p:tag name="ANGLE" val="3"/>
</p:tagLst>
</file>

<file path=ppt/tags/tag235.xml><?xml version="1.0" encoding="utf-8"?>
<p:tagLst xmlns:a="http://schemas.openxmlformats.org/drawingml/2006/main" xmlns:r="http://schemas.openxmlformats.org/officeDocument/2006/relationships" xmlns:p="http://schemas.openxmlformats.org/presentationml/2006/main">
  <p:tag name="ANGLE" val="2"/>
</p:tagLst>
</file>

<file path=ppt/tags/tag236.xml><?xml version="1.0" encoding="utf-8"?>
<p:tagLst xmlns:a="http://schemas.openxmlformats.org/drawingml/2006/main" xmlns:r="http://schemas.openxmlformats.org/officeDocument/2006/relationships" xmlns:p="http://schemas.openxmlformats.org/presentationml/2006/main">
  <p:tag name="ANGLE" val="2"/>
</p:tagLst>
</file>

<file path=ppt/tags/tag237.xml><?xml version="1.0" encoding="utf-8"?>
<p:tagLst xmlns:a="http://schemas.openxmlformats.org/drawingml/2006/main" xmlns:r="http://schemas.openxmlformats.org/officeDocument/2006/relationships" xmlns:p="http://schemas.openxmlformats.org/presentationml/2006/main">
  <p:tag name="ANGLE" val="1"/>
</p:tagLst>
</file>

<file path=ppt/tags/tag238.xml><?xml version="1.0" encoding="utf-8"?>
<p:tagLst xmlns:a="http://schemas.openxmlformats.org/drawingml/2006/main" xmlns:r="http://schemas.openxmlformats.org/officeDocument/2006/relationships" xmlns:p="http://schemas.openxmlformats.org/presentationml/2006/main">
  <p:tag name="ANGLE" val="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Subtitle"/>
</p:tagLst>
</file>

<file path=ppt/tags/tag243.xml><?xml version="1.0" encoding="utf-8"?>
<p:tagLst xmlns:a="http://schemas.openxmlformats.org/drawingml/2006/main" xmlns:r="http://schemas.openxmlformats.org/officeDocument/2006/relationships" xmlns:p="http://schemas.openxmlformats.org/presentationml/2006/main">
  <p:tag name="SHAPENAME" val="Titl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SHAPENAME" val="5. Sourc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Grid"/>
</p:tagLst>
</file>

<file path=ppt/tags/tag3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69.xml><?xml version="1.0" encoding="utf-8"?>
<p:tagLst xmlns:a="http://schemas.openxmlformats.org/drawingml/2006/main" xmlns:r="http://schemas.openxmlformats.org/officeDocument/2006/relationships" xmlns:p="http://schemas.openxmlformats.org/presentationml/2006/main">
  <p:tag name="NAME" val="ACET"/>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ANGLE" val="5"/>
</p:tagLst>
</file>

<file path=ppt/tags/tag376.xml><?xml version="1.0" encoding="utf-8"?>
<p:tagLst xmlns:a="http://schemas.openxmlformats.org/drawingml/2006/main" xmlns:r="http://schemas.openxmlformats.org/officeDocument/2006/relationships" xmlns:p="http://schemas.openxmlformats.org/presentationml/2006/main">
  <p:tag name="ANGLE" val="5"/>
</p:tagLst>
</file>

<file path=ppt/tags/tag377.xml><?xml version="1.0" encoding="utf-8"?>
<p:tagLst xmlns:a="http://schemas.openxmlformats.org/drawingml/2006/main" xmlns:r="http://schemas.openxmlformats.org/officeDocument/2006/relationships" xmlns:p="http://schemas.openxmlformats.org/presentationml/2006/main">
  <p:tag name="ANGLE" val="4"/>
</p:tagLst>
</file>

<file path=ppt/tags/tag378.xml><?xml version="1.0" encoding="utf-8"?>
<p:tagLst xmlns:a="http://schemas.openxmlformats.org/drawingml/2006/main" xmlns:r="http://schemas.openxmlformats.org/officeDocument/2006/relationships" xmlns:p="http://schemas.openxmlformats.org/presentationml/2006/main">
  <p:tag name="ANGLE" val="4"/>
</p:tagLst>
</file>

<file path=ppt/tags/tag379.xml><?xml version="1.0" encoding="utf-8"?>
<p:tagLst xmlns:a="http://schemas.openxmlformats.org/drawingml/2006/main" xmlns:r="http://schemas.openxmlformats.org/officeDocument/2006/relationships" xmlns:p="http://schemas.openxmlformats.org/presentationml/2006/main">
  <p:tag name="ANGLE" val="3"/>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ANGLE" val="3"/>
</p:tagLst>
</file>

<file path=ppt/tags/tag381.xml><?xml version="1.0" encoding="utf-8"?>
<p:tagLst xmlns:a="http://schemas.openxmlformats.org/drawingml/2006/main" xmlns:r="http://schemas.openxmlformats.org/officeDocument/2006/relationships" xmlns:p="http://schemas.openxmlformats.org/presentationml/2006/main">
  <p:tag name="ANGLE" val="2"/>
</p:tagLst>
</file>

<file path=ppt/tags/tag382.xml><?xml version="1.0" encoding="utf-8"?>
<p:tagLst xmlns:a="http://schemas.openxmlformats.org/drawingml/2006/main" xmlns:r="http://schemas.openxmlformats.org/officeDocument/2006/relationships" xmlns:p="http://schemas.openxmlformats.org/presentationml/2006/main">
  <p:tag name="ANGLE" val="2"/>
</p:tagLst>
</file>

<file path=ppt/tags/tag383.xml><?xml version="1.0" encoding="utf-8"?>
<p:tagLst xmlns:a="http://schemas.openxmlformats.org/drawingml/2006/main" xmlns:r="http://schemas.openxmlformats.org/officeDocument/2006/relationships" xmlns:p="http://schemas.openxmlformats.org/presentationml/2006/main">
  <p:tag name="ANGLE" val="1"/>
</p:tagLst>
</file>

<file path=ppt/tags/tag384.xml><?xml version="1.0" encoding="utf-8"?>
<p:tagLst xmlns:a="http://schemas.openxmlformats.org/drawingml/2006/main" xmlns:r="http://schemas.openxmlformats.org/officeDocument/2006/relationships" xmlns:p="http://schemas.openxmlformats.org/presentationml/2006/main">
  <p:tag name="ANGLE" val="1"/>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7.xml><?xml version="1.0" encoding="utf-8"?>
<p:tagLst xmlns:a="http://schemas.openxmlformats.org/drawingml/2006/main" xmlns:r="http://schemas.openxmlformats.org/officeDocument/2006/relationships" xmlns:p="http://schemas.openxmlformats.org/presentationml/2006/main">
  <p:tag name="SHAPENAME" val="Subtitle"/>
</p:tagLst>
</file>

<file path=ppt/tags/tag388.xml><?xml version="1.0" encoding="utf-8"?>
<p:tagLst xmlns:a="http://schemas.openxmlformats.org/drawingml/2006/main" xmlns:r="http://schemas.openxmlformats.org/officeDocument/2006/relationships" xmlns:p="http://schemas.openxmlformats.org/presentationml/2006/main">
  <p:tag name="SHAPENAME" val="Titl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8.xml><?xml version="1.0" encoding="utf-8"?>
<p:tagLst xmlns:a="http://schemas.openxmlformats.org/drawingml/2006/main" xmlns:r="http://schemas.openxmlformats.org/officeDocument/2006/relationships" xmlns:p="http://schemas.openxmlformats.org/presentationml/2006/main">
  <p:tag name="SHAPENAME" val="5. Sourc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2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5. Source"/>
</p:tagLst>
</file>

<file path=ppt/tags/tag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SHAPENAME" val="5. Source"/>
</p:tagLst>
</file>

<file path=ppt/tags/tag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NAME" val="ACET"/>
</p:tagLst>
</file>

<file path=ppt/tags/tag509.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NAME" val="Moon"/>
</p:tagLst>
</file>

<file path=ppt/tags/tag511.xml><?xml version="1.0" encoding="utf-8"?>
<p:tagLst xmlns:a="http://schemas.openxmlformats.org/drawingml/2006/main" xmlns:r="http://schemas.openxmlformats.org/officeDocument/2006/relationships" xmlns:p="http://schemas.openxmlformats.org/presentationml/2006/main">
  <p:tag name="NAME" val="Moon"/>
</p:tagLst>
</file>

<file path=ppt/tags/tag512.xml><?xml version="1.0" encoding="utf-8"?>
<p:tagLst xmlns:a="http://schemas.openxmlformats.org/drawingml/2006/main" xmlns:r="http://schemas.openxmlformats.org/officeDocument/2006/relationships" xmlns:p="http://schemas.openxmlformats.org/presentationml/2006/main">
  <p:tag name="NAME" val="Moon"/>
</p:tagLst>
</file>

<file path=ppt/tags/tag513.xml><?xml version="1.0" encoding="utf-8"?>
<p:tagLst xmlns:a="http://schemas.openxmlformats.org/drawingml/2006/main" xmlns:r="http://schemas.openxmlformats.org/officeDocument/2006/relationships" xmlns:p="http://schemas.openxmlformats.org/presentationml/2006/main">
  <p:tag name="NAME" val="Moon"/>
</p:tagLst>
</file>

<file path=ppt/tags/tag514.xml><?xml version="1.0" encoding="utf-8"?>
<p:tagLst xmlns:a="http://schemas.openxmlformats.org/drawingml/2006/main" xmlns:r="http://schemas.openxmlformats.org/officeDocument/2006/relationships" xmlns:p="http://schemas.openxmlformats.org/presentationml/2006/main">
  <p:tag name="ANGLE" val="5"/>
</p:tagLst>
</file>

<file path=ppt/tags/tag515.xml><?xml version="1.0" encoding="utf-8"?>
<p:tagLst xmlns:a="http://schemas.openxmlformats.org/drawingml/2006/main" xmlns:r="http://schemas.openxmlformats.org/officeDocument/2006/relationships" xmlns:p="http://schemas.openxmlformats.org/presentationml/2006/main">
  <p:tag name="ANGLE" val="5"/>
</p:tagLst>
</file>

<file path=ppt/tags/tag516.xml><?xml version="1.0" encoding="utf-8"?>
<p:tagLst xmlns:a="http://schemas.openxmlformats.org/drawingml/2006/main" xmlns:r="http://schemas.openxmlformats.org/officeDocument/2006/relationships" xmlns:p="http://schemas.openxmlformats.org/presentationml/2006/main">
  <p:tag name="ANGLE" val="4"/>
</p:tagLst>
</file>

<file path=ppt/tags/tag517.xml><?xml version="1.0" encoding="utf-8"?>
<p:tagLst xmlns:a="http://schemas.openxmlformats.org/drawingml/2006/main" xmlns:r="http://schemas.openxmlformats.org/officeDocument/2006/relationships" xmlns:p="http://schemas.openxmlformats.org/presentationml/2006/main">
  <p:tag name="ANGLE" val="4"/>
</p:tagLst>
</file>

<file path=ppt/tags/tag518.xml><?xml version="1.0" encoding="utf-8"?>
<p:tagLst xmlns:a="http://schemas.openxmlformats.org/drawingml/2006/main" xmlns:r="http://schemas.openxmlformats.org/officeDocument/2006/relationships" xmlns:p="http://schemas.openxmlformats.org/presentationml/2006/main">
  <p:tag name="ANGLE" val="3"/>
</p:tagLst>
</file>

<file path=ppt/tags/tag519.xml><?xml version="1.0" encoding="utf-8"?>
<p:tagLst xmlns:a="http://schemas.openxmlformats.org/drawingml/2006/main" xmlns:r="http://schemas.openxmlformats.org/officeDocument/2006/relationships" xmlns:p="http://schemas.openxmlformats.org/presentationml/2006/main">
  <p:tag name="ANGLE" val="3"/>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20.xml><?xml version="1.0" encoding="utf-8"?>
<p:tagLst xmlns:a="http://schemas.openxmlformats.org/drawingml/2006/main" xmlns:r="http://schemas.openxmlformats.org/officeDocument/2006/relationships" xmlns:p="http://schemas.openxmlformats.org/presentationml/2006/main">
  <p:tag name="ANGLE" val="2"/>
</p:tagLst>
</file>

<file path=ppt/tags/tag521.xml><?xml version="1.0" encoding="utf-8"?>
<p:tagLst xmlns:a="http://schemas.openxmlformats.org/drawingml/2006/main" xmlns:r="http://schemas.openxmlformats.org/officeDocument/2006/relationships" xmlns:p="http://schemas.openxmlformats.org/presentationml/2006/main">
  <p:tag name="ANGLE" val="2"/>
</p:tagLst>
</file>

<file path=ppt/tags/tag522.xml><?xml version="1.0" encoding="utf-8"?>
<p:tagLst xmlns:a="http://schemas.openxmlformats.org/drawingml/2006/main" xmlns:r="http://schemas.openxmlformats.org/officeDocument/2006/relationships" xmlns:p="http://schemas.openxmlformats.org/presentationml/2006/main">
  <p:tag name="ANGLE" val="1"/>
</p:tagLst>
</file>

<file path=ppt/tags/tag523.xml><?xml version="1.0" encoding="utf-8"?>
<p:tagLst xmlns:a="http://schemas.openxmlformats.org/drawingml/2006/main" xmlns:r="http://schemas.openxmlformats.org/officeDocument/2006/relationships" xmlns:p="http://schemas.openxmlformats.org/presentationml/2006/main">
  <p:tag name="ANGLE" val="1"/>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7.xml><?xml version="1.0" encoding="utf-8"?>
<p:tagLst xmlns:a="http://schemas.openxmlformats.org/drawingml/2006/main" xmlns:r="http://schemas.openxmlformats.org/officeDocument/2006/relationships" xmlns:p="http://schemas.openxmlformats.org/presentationml/2006/main">
  <p:tag name="SHAPENAME" val="Subtitle"/>
</p:tagLst>
</file>

<file path=ppt/tags/tag528.xml><?xml version="1.0" encoding="utf-8"?>
<p:tagLst xmlns:a="http://schemas.openxmlformats.org/drawingml/2006/main" xmlns:r="http://schemas.openxmlformats.org/officeDocument/2006/relationships" xmlns:p="http://schemas.openxmlformats.org/presentationml/2006/main">
  <p:tag name="SHAPENAME" val="Titl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1.xml><?xml version="1.0" encoding="utf-8"?>
<p:tagLst xmlns:a="http://schemas.openxmlformats.org/drawingml/2006/main" xmlns:r="http://schemas.openxmlformats.org/officeDocument/2006/relationships" xmlns:p="http://schemas.openxmlformats.org/presentationml/2006/main">
  <p:tag name="SHAPENAME" val="5. Source"/>
</p:tagLst>
</file>

<file path=ppt/tags/tag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8.xml><?xml version="1.0" encoding="utf-8"?>
<p:tagLst xmlns:a="http://schemas.openxmlformats.org/drawingml/2006/main" xmlns:r="http://schemas.openxmlformats.org/officeDocument/2006/relationships" xmlns:p="http://schemas.openxmlformats.org/presentationml/2006/main">
  <p:tag name="SHAPENAME" val="5. Source"/>
</p:tagLst>
</file>

<file path=ppt/tags/tag5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6.xml><?xml version="1.0" encoding="utf-8"?>
<p:tagLst xmlns:a="http://schemas.openxmlformats.org/drawingml/2006/main" xmlns:r="http://schemas.openxmlformats.org/officeDocument/2006/relationships" xmlns:p="http://schemas.openxmlformats.org/presentationml/2006/main">
  <p:tag name="SHAPENAME" val="5. Source"/>
</p:tagLst>
</file>

<file path=ppt/tags/tag5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4.xml><?xml version="1.0" encoding="utf-8"?>
<p:tagLst xmlns:a="http://schemas.openxmlformats.org/drawingml/2006/main" xmlns:r="http://schemas.openxmlformats.org/officeDocument/2006/relationships" xmlns:p="http://schemas.openxmlformats.org/presentationml/2006/main">
  <p:tag name="SHAPENAME" val="5. Source"/>
</p:tagLst>
</file>

<file path=ppt/tags/tag5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8.xml><?xml version="1.0" encoding="utf-8"?>
<p:tagLst xmlns:a="http://schemas.openxmlformats.org/drawingml/2006/main" xmlns:r="http://schemas.openxmlformats.org/officeDocument/2006/relationships" xmlns:p="http://schemas.openxmlformats.org/presentationml/2006/main">
  <p:tag name="SHAPENAME" val="5. Source"/>
</p:tagLst>
</file>

<file path=ppt/tags/tag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5. Source"/>
</p:tagLst>
</file>

<file path=ppt/tags/tag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5. Source"/>
</p:tagLst>
</file>

<file path=ppt/tags/tag6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15.xml><?xml version="1.0" encoding="utf-8"?>
<p:tagLst xmlns:a="http://schemas.openxmlformats.org/drawingml/2006/main" xmlns:r="http://schemas.openxmlformats.org/officeDocument/2006/relationships" xmlns:p="http://schemas.openxmlformats.org/presentationml/2006/main">
  <p:tag name="NAME" val="Moon"/>
</p:tagLst>
</file>

<file path=ppt/tags/tag616.xml><?xml version="1.0" encoding="utf-8"?>
<p:tagLst xmlns:a="http://schemas.openxmlformats.org/drawingml/2006/main" xmlns:r="http://schemas.openxmlformats.org/officeDocument/2006/relationships" xmlns:p="http://schemas.openxmlformats.org/presentationml/2006/main">
  <p:tag name="NAME" val="Moon"/>
</p:tagLst>
</file>

<file path=ppt/tags/tag617.xml><?xml version="1.0" encoding="utf-8"?>
<p:tagLst xmlns:a="http://schemas.openxmlformats.org/drawingml/2006/main" xmlns:r="http://schemas.openxmlformats.org/officeDocument/2006/relationships" xmlns:p="http://schemas.openxmlformats.org/presentationml/2006/main">
  <p:tag name="NAME" val="Moon"/>
</p:tagLst>
</file>

<file path=ppt/tags/tag618.xml><?xml version="1.0" encoding="utf-8"?>
<p:tagLst xmlns:a="http://schemas.openxmlformats.org/drawingml/2006/main" xmlns:r="http://schemas.openxmlformats.org/officeDocument/2006/relationships" xmlns:p="http://schemas.openxmlformats.org/presentationml/2006/main">
  <p:tag name="NAME" val="Moon"/>
</p:tagLst>
</file>

<file path=ppt/tags/tag619.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36.xml><?xml version="1.0" encoding="utf-8"?>
<p:tagLst xmlns:a="http://schemas.openxmlformats.org/drawingml/2006/main" xmlns:r="http://schemas.openxmlformats.org/officeDocument/2006/relationships" xmlns:p="http://schemas.openxmlformats.org/presentationml/2006/main">
  <p:tag name="NAME" val="Moon"/>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NAME" val="Moon"/>
</p:tagLst>
</file>

<file path=ppt/tags/tag639.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NAME" val="Moon"/>
</p:tagLst>
</file>

<file path=ppt/tags/tag6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9.xml><?xml version="1.0" encoding="utf-8"?>
<p:tagLst xmlns:a="http://schemas.openxmlformats.org/drawingml/2006/main" xmlns:r="http://schemas.openxmlformats.org/officeDocument/2006/relationships" xmlns:p="http://schemas.openxmlformats.org/presentationml/2006/main">
  <p:tag name="NAME" val="ACE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NAME" val="Moon"/>
</p:tagLst>
</file>

<file path=ppt/tags/tag661.xml><?xml version="1.0" encoding="utf-8"?>
<p:tagLst xmlns:a="http://schemas.openxmlformats.org/drawingml/2006/main" xmlns:r="http://schemas.openxmlformats.org/officeDocument/2006/relationships" xmlns:p="http://schemas.openxmlformats.org/presentationml/2006/main">
  <p:tag name="NAME" val="Moon"/>
</p:tagLst>
</file>

<file path=ppt/tags/tag662.xml><?xml version="1.0" encoding="utf-8"?>
<p:tagLst xmlns:a="http://schemas.openxmlformats.org/drawingml/2006/main" xmlns:r="http://schemas.openxmlformats.org/officeDocument/2006/relationships" xmlns:p="http://schemas.openxmlformats.org/presentationml/2006/main">
  <p:tag name="NAME" val="Moon"/>
</p:tagLst>
</file>

<file path=ppt/tags/tag663.xml><?xml version="1.0" encoding="utf-8"?>
<p:tagLst xmlns:a="http://schemas.openxmlformats.org/drawingml/2006/main" xmlns:r="http://schemas.openxmlformats.org/officeDocument/2006/relationships" xmlns:p="http://schemas.openxmlformats.org/presentationml/2006/main">
  <p:tag name="NAME" val="Moon"/>
</p:tagLst>
</file>

<file path=ppt/tags/tag664.xml><?xml version="1.0" encoding="utf-8"?>
<p:tagLst xmlns:a="http://schemas.openxmlformats.org/drawingml/2006/main" xmlns:r="http://schemas.openxmlformats.org/officeDocument/2006/relationships" xmlns:p="http://schemas.openxmlformats.org/presentationml/2006/main">
  <p:tag name="NAME" val="Moon"/>
</p:tagLst>
</file>

<file path=ppt/tags/tag665.xml><?xml version="1.0" encoding="utf-8"?>
<p:tagLst xmlns:a="http://schemas.openxmlformats.org/drawingml/2006/main" xmlns:r="http://schemas.openxmlformats.org/officeDocument/2006/relationships" xmlns:p="http://schemas.openxmlformats.org/presentationml/2006/main">
  <p:tag name="ANGLE" val="5"/>
</p:tagLst>
</file>

<file path=ppt/tags/tag666.xml><?xml version="1.0" encoding="utf-8"?>
<p:tagLst xmlns:a="http://schemas.openxmlformats.org/drawingml/2006/main" xmlns:r="http://schemas.openxmlformats.org/officeDocument/2006/relationships" xmlns:p="http://schemas.openxmlformats.org/presentationml/2006/main">
  <p:tag name="ANGLE" val="5"/>
</p:tagLst>
</file>

<file path=ppt/tags/tag667.xml><?xml version="1.0" encoding="utf-8"?>
<p:tagLst xmlns:a="http://schemas.openxmlformats.org/drawingml/2006/main" xmlns:r="http://schemas.openxmlformats.org/officeDocument/2006/relationships" xmlns:p="http://schemas.openxmlformats.org/presentationml/2006/main">
  <p:tag name="ANGLE" val="4"/>
</p:tagLst>
</file>

<file path=ppt/tags/tag668.xml><?xml version="1.0" encoding="utf-8"?>
<p:tagLst xmlns:a="http://schemas.openxmlformats.org/drawingml/2006/main" xmlns:r="http://schemas.openxmlformats.org/officeDocument/2006/relationships" xmlns:p="http://schemas.openxmlformats.org/presentationml/2006/main">
  <p:tag name="ANGLE" val="4"/>
</p:tagLst>
</file>

<file path=ppt/tags/tag669.xml><?xml version="1.0" encoding="utf-8"?>
<p:tagLst xmlns:a="http://schemas.openxmlformats.org/drawingml/2006/main" xmlns:r="http://schemas.openxmlformats.org/officeDocument/2006/relationships" xmlns:p="http://schemas.openxmlformats.org/presentationml/2006/main">
  <p:tag name="ANGLE" val="3"/>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70.xml><?xml version="1.0" encoding="utf-8"?>
<p:tagLst xmlns:a="http://schemas.openxmlformats.org/drawingml/2006/main" xmlns:r="http://schemas.openxmlformats.org/officeDocument/2006/relationships" xmlns:p="http://schemas.openxmlformats.org/presentationml/2006/main">
  <p:tag name="ANGLE" val="3"/>
</p:tagLst>
</file>

<file path=ppt/tags/tag671.xml><?xml version="1.0" encoding="utf-8"?>
<p:tagLst xmlns:a="http://schemas.openxmlformats.org/drawingml/2006/main" xmlns:r="http://schemas.openxmlformats.org/officeDocument/2006/relationships" xmlns:p="http://schemas.openxmlformats.org/presentationml/2006/main">
  <p:tag name="ANGLE" val="2"/>
</p:tagLst>
</file>

<file path=ppt/tags/tag672.xml><?xml version="1.0" encoding="utf-8"?>
<p:tagLst xmlns:a="http://schemas.openxmlformats.org/drawingml/2006/main" xmlns:r="http://schemas.openxmlformats.org/officeDocument/2006/relationships" xmlns:p="http://schemas.openxmlformats.org/presentationml/2006/main">
  <p:tag name="ANGLE" val="2"/>
</p:tagLst>
</file>

<file path=ppt/tags/tag673.xml><?xml version="1.0" encoding="utf-8"?>
<p:tagLst xmlns:a="http://schemas.openxmlformats.org/drawingml/2006/main" xmlns:r="http://schemas.openxmlformats.org/officeDocument/2006/relationships" xmlns:p="http://schemas.openxmlformats.org/presentationml/2006/main">
  <p:tag name="ANGLE" val="1"/>
</p:tagLst>
</file>

<file path=ppt/tags/tag674.xml><?xml version="1.0" encoding="utf-8"?>
<p:tagLst xmlns:a="http://schemas.openxmlformats.org/drawingml/2006/main" xmlns:r="http://schemas.openxmlformats.org/officeDocument/2006/relationships" xmlns:p="http://schemas.openxmlformats.org/presentationml/2006/main">
  <p:tag name="ANGLE" val="1"/>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8.xml><?xml version="1.0" encoding="utf-8"?>
<p:tagLst xmlns:a="http://schemas.openxmlformats.org/drawingml/2006/main" xmlns:r="http://schemas.openxmlformats.org/officeDocument/2006/relationships" xmlns:p="http://schemas.openxmlformats.org/presentationml/2006/main">
  <p:tag name="SHAPENAME" val="Subtitle"/>
</p:tagLst>
</file>

<file path=ppt/tags/tag679.xml><?xml version="1.0" encoding="utf-8"?>
<p:tagLst xmlns:a="http://schemas.openxmlformats.org/drawingml/2006/main" xmlns:r="http://schemas.openxmlformats.org/officeDocument/2006/relationships" xmlns:p="http://schemas.openxmlformats.org/presentationml/2006/main">
  <p:tag name="SHAPENAME" val="Title"/>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3.xml><?xml version="1.0" encoding="utf-8"?>
<p:tagLst xmlns:a="http://schemas.openxmlformats.org/drawingml/2006/main" xmlns:r="http://schemas.openxmlformats.org/officeDocument/2006/relationships" xmlns:p="http://schemas.openxmlformats.org/presentationml/2006/main">
  <p:tag name="SHAPENAME" val="5. Source"/>
</p:tagLst>
</file>

<file path=ppt/tags/tag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0.xml><?xml version="1.0" encoding="utf-8"?>
<p:tagLst xmlns:a="http://schemas.openxmlformats.org/drawingml/2006/main" xmlns:r="http://schemas.openxmlformats.org/officeDocument/2006/relationships" xmlns:p="http://schemas.openxmlformats.org/presentationml/2006/main">
  <p:tag name="SHAPENAME" val="5. Source"/>
</p:tagLst>
</file>

<file path=ppt/tags/tag6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SHAPENAME" val="5. Source"/>
</p:tagLst>
</file>

<file path=ppt/tags/tag6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SHAPENAME" val="5. Source"/>
</p:tagLst>
</file>

<file path=ppt/tags/tag7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7.xml><?xml version="1.0" encoding="utf-8"?>
<p:tagLst xmlns:a="http://schemas.openxmlformats.org/drawingml/2006/main" xmlns:r="http://schemas.openxmlformats.org/officeDocument/2006/relationships" xmlns:p="http://schemas.openxmlformats.org/presentationml/2006/main">
  <p:tag name="SHAPENAME" val="5. Source"/>
</p:tagLst>
</file>

<file path=ppt/tags/tag7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5.xml><?xml version="1.0" encoding="utf-8"?>
<p:tagLst xmlns:a="http://schemas.openxmlformats.org/drawingml/2006/main" xmlns:r="http://schemas.openxmlformats.org/officeDocument/2006/relationships" xmlns:p="http://schemas.openxmlformats.org/presentationml/2006/main">
  <p:tag name="SHAPENAME" val="5. Sourc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5. Source"/>
</p:tagLst>
</file>

<file path=ppt/tags/tag7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5. Source"/>
</p:tagLst>
</file>

<file path=ppt/tags/tag7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SHAPENAME" val="5. Source"/>
</p:tagLst>
</file>

<file path=ppt/tags/tag7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6.xml><?xml version="1.0" encoding="utf-8"?>
<p:tagLst xmlns:a="http://schemas.openxmlformats.org/drawingml/2006/main" xmlns:r="http://schemas.openxmlformats.org/officeDocument/2006/relationships" xmlns:p="http://schemas.openxmlformats.org/presentationml/2006/main">
  <p:tag name="SHAPENAME" val="5. Source"/>
</p:tagLst>
</file>

<file path=ppt/tags/tag7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0.xml><?xml version="1.0" encoding="utf-8"?>
<p:tagLst xmlns:a="http://schemas.openxmlformats.org/drawingml/2006/main" xmlns:r="http://schemas.openxmlformats.org/officeDocument/2006/relationships" xmlns:p="http://schemas.openxmlformats.org/presentationml/2006/main">
  <p:tag name="SHAPENAME" val="5. Source"/>
</p:tagLst>
</file>

<file path=ppt/tags/tag7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3.xml><?xml version="1.0" encoding="utf-8"?>
<p:tagLst xmlns:a="http://schemas.openxmlformats.org/drawingml/2006/main" xmlns:r="http://schemas.openxmlformats.org/officeDocument/2006/relationships" xmlns:p="http://schemas.openxmlformats.org/presentationml/2006/main">
  <p:tag name="SHAPENAME" val="5. Source"/>
</p:tagLst>
</file>

<file path=ppt/tags/tag7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7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1.xml><?xml version="1.0" encoding="utf-8"?>
<p:tagLst xmlns:a="http://schemas.openxmlformats.org/drawingml/2006/main" xmlns:r="http://schemas.openxmlformats.org/officeDocument/2006/relationships" xmlns:p="http://schemas.openxmlformats.org/presentationml/2006/main">
  <p:tag name="SHAPENAME" val="5. Sourc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5.xml><?xml version="1.0" encoding="utf-8"?>
<p:tagLst xmlns:a="http://schemas.openxmlformats.org/drawingml/2006/main" xmlns:r="http://schemas.openxmlformats.org/officeDocument/2006/relationships" xmlns:p="http://schemas.openxmlformats.org/presentationml/2006/main">
  <p:tag name="SHAPENAME" val="5. Source"/>
</p:tagLst>
</file>

<file path=ppt/tags/tag8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09.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0.xml><?xml version="1.0" encoding="utf-8"?>
<p:tagLst xmlns:a="http://schemas.openxmlformats.org/drawingml/2006/main" xmlns:r="http://schemas.openxmlformats.org/officeDocument/2006/relationships" xmlns:p="http://schemas.openxmlformats.org/presentationml/2006/main">
  <p:tag name="NAME" val="Moon"/>
</p:tagLst>
</file>

<file path=ppt/tags/tag811.xml><?xml version="1.0" encoding="utf-8"?>
<p:tagLst xmlns:a="http://schemas.openxmlformats.org/drawingml/2006/main" xmlns:r="http://schemas.openxmlformats.org/officeDocument/2006/relationships" xmlns:p="http://schemas.openxmlformats.org/presentationml/2006/main">
  <p:tag name="NAME" val="Moon"/>
</p:tagLst>
</file>

<file path=ppt/tags/tag812.xml><?xml version="1.0" encoding="utf-8"?>
<p:tagLst xmlns:a="http://schemas.openxmlformats.org/drawingml/2006/main" xmlns:r="http://schemas.openxmlformats.org/officeDocument/2006/relationships" xmlns:p="http://schemas.openxmlformats.org/presentationml/2006/main">
  <p:tag name="NAME" val="Moon"/>
</p:tagLst>
</file>

<file path=ppt/tags/tag813.xml><?xml version="1.0" encoding="utf-8"?>
<p:tagLst xmlns:a="http://schemas.openxmlformats.org/drawingml/2006/main" xmlns:r="http://schemas.openxmlformats.org/officeDocument/2006/relationships" xmlns:p="http://schemas.openxmlformats.org/presentationml/2006/main">
  <p:tag name="NAME" val="Moon"/>
</p:tagLst>
</file>

<file path=ppt/tags/tag8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0.xml><?xml version="1.0" encoding="utf-8"?>
<p:tagLst xmlns:a="http://schemas.openxmlformats.org/drawingml/2006/main" xmlns:r="http://schemas.openxmlformats.org/officeDocument/2006/relationships" xmlns:p="http://schemas.openxmlformats.org/presentationml/2006/main">
  <p:tag name="NAME" val="Moon"/>
</p:tagLst>
</file>

<file path=ppt/tags/tag841.xml><?xml version="1.0" encoding="utf-8"?>
<p:tagLst xmlns:a="http://schemas.openxmlformats.org/drawingml/2006/main" xmlns:r="http://schemas.openxmlformats.org/officeDocument/2006/relationships" xmlns:p="http://schemas.openxmlformats.org/presentationml/2006/main">
  <p:tag name="NAME" val="Moon"/>
</p:tagLst>
</file>

<file path=ppt/tags/tag842.xml><?xml version="1.0" encoding="utf-8"?>
<p:tagLst xmlns:a="http://schemas.openxmlformats.org/drawingml/2006/main" xmlns:r="http://schemas.openxmlformats.org/officeDocument/2006/relationships" xmlns:p="http://schemas.openxmlformats.org/presentationml/2006/main">
  <p:tag name="NAME" val="Moon"/>
</p:tagLst>
</file>

<file path=ppt/tags/tag843.xml><?xml version="1.0" encoding="utf-8"?>
<p:tagLst xmlns:a="http://schemas.openxmlformats.org/drawingml/2006/main" xmlns:r="http://schemas.openxmlformats.org/officeDocument/2006/relationships" xmlns:p="http://schemas.openxmlformats.org/presentationml/2006/main">
  <p:tag name="NAME" val="Moon"/>
</p:tagLst>
</file>

<file path=ppt/tags/tag844.xml><?xml version="1.0" encoding="utf-8"?>
<p:tagLst xmlns:a="http://schemas.openxmlformats.org/drawingml/2006/main" xmlns:r="http://schemas.openxmlformats.org/officeDocument/2006/relationships" xmlns:p="http://schemas.openxmlformats.org/presentationml/2006/main">
  <p:tag name="NAME" val="Moon"/>
</p:tagLst>
</file>

<file path=ppt/tags/tag8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859.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AOBcwTmdWdd1RgLGsBJiT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1ey0c6djQ0GlCxShCmyMlg"/>
  <p:tag name="SHAPENAME" val="2. Slide Title"/>
</p:tagLst>
</file>

<file path=ppt/tags/tag863.xml><?xml version="1.0" encoding="utf-8"?>
<p:tagLst xmlns:a="http://schemas.openxmlformats.org/drawingml/2006/main" xmlns:r="http://schemas.openxmlformats.org/officeDocument/2006/relationships" xmlns:p="http://schemas.openxmlformats.org/presentationml/2006/main">
  <p:tag name="NAME" val="CustomIcon"/>
</p:tagLst>
</file>

<file path=ppt/tags/tag864.xml><?xml version="1.0" encoding="utf-8"?>
<p:tagLst xmlns:a="http://schemas.openxmlformats.org/drawingml/2006/main" xmlns:r="http://schemas.openxmlformats.org/officeDocument/2006/relationships" xmlns:p="http://schemas.openxmlformats.org/presentationml/2006/main">
  <p:tag name="NAME" val="CustomIcon"/>
</p:tagLst>
</file>

<file path=ppt/tags/tag865.xml><?xml version="1.0" encoding="utf-8"?>
<p:tagLst xmlns:a="http://schemas.openxmlformats.org/drawingml/2006/main" xmlns:r="http://schemas.openxmlformats.org/officeDocument/2006/relationships" xmlns:p="http://schemas.openxmlformats.org/presentationml/2006/main">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2_Office Theme">
  <a:themeElements>
    <a:clrScheme name="Custom 4">
      <a:dk1>
        <a:srgbClr val="000000"/>
      </a:dk1>
      <a:lt1>
        <a:srgbClr val="FFFFFF"/>
      </a:lt1>
      <a:dk2>
        <a:srgbClr val="001D59"/>
      </a:dk2>
      <a:lt2>
        <a:srgbClr val="FFFFFF"/>
      </a:lt2>
      <a:accent1>
        <a:srgbClr val="9CCFEC"/>
      </a:accent1>
      <a:accent2>
        <a:srgbClr val="2487BE"/>
      </a:accent2>
      <a:accent3>
        <a:srgbClr val="144F94"/>
      </a:accent3>
      <a:accent4>
        <a:srgbClr val="0AA67D"/>
      </a:accent4>
      <a:accent5>
        <a:srgbClr val="EBA520"/>
      </a:accent5>
      <a:accent6>
        <a:srgbClr val="808080"/>
      </a:accent6>
      <a:hlink>
        <a:srgbClr val="144F94"/>
      </a:hlink>
      <a:folHlink>
        <a:srgbClr val="001D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6727LQ_CF">
  <a:themeElements>
    <a:clrScheme name="Custom 5">
      <a:dk1>
        <a:srgbClr val="002476"/>
      </a:dk1>
      <a:lt1>
        <a:srgbClr val="FFFFFF"/>
      </a:lt1>
      <a:dk2>
        <a:srgbClr val="0A1F55"/>
      </a:dk2>
      <a:lt2>
        <a:srgbClr val="FFFFFF"/>
      </a:lt2>
      <a:accent1>
        <a:srgbClr val="7BBDE1"/>
      </a:accent1>
      <a:accent2>
        <a:srgbClr val="0089D8"/>
      </a:accent2>
      <a:accent3>
        <a:srgbClr val="00588B"/>
      </a:accent3>
      <a:accent4>
        <a:srgbClr val="0AA67D"/>
      </a:accent4>
      <a:accent5>
        <a:srgbClr val="EBA520"/>
      </a:accent5>
      <a:accent6>
        <a:srgbClr val="EF3B45"/>
      </a:accent6>
      <a:hlink>
        <a:srgbClr val="0089D8"/>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11.xml><?xml version="1.0" encoding="utf-8"?>
<a:theme xmlns:a="http://schemas.openxmlformats.org/drawingml/2006/main" name="Office Theme">
  <a:themeElements>
    <a:clrScheme name="Custom 4">
      <a:dk1>
        <a:srgbClr val="000000"/>
      </a:dk1>
      <a:lt1>
        <a:srgbClr val="FFFFFF"/>
      </a:lt1>
      <a:dk2>
        <a:srgbClr val="001D59"/>
      </a:dk2>
      <a:lt2>
        <a:srgbClr val="FFFFFF"/>
      </a:lt2>
      <a:accent1>
        <a:srgbClr val="9CCFEC"/>
      </a:accent1>
      <a:accent2>
        <a:srgbClr val="2487BE"/>
      </a:accent2>
      <a:accent3>
        <a:srgbClr val="144F94"/>
      </a:accent3>
      <a:accent4>
        <a:srgbClr val="0AA67D"/>
      </a:accent4>
      <a:accent5>
        <a:srgbClr val="EBA520"/>
      </a:accent5>
      <a:accent6>
        <a:srgbClr val="808080"/>
      </a:accent6>
      <a:hlink>
        <a:srgbClr val="144F94"/>
      </a:hlink>
      <a:folHlink>
        <a:srgbClr val="001D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Custom 3">
      <a:dk1>
        <a:srgbClr val="002476"/>
      </a:dk1>
      <a:lt1>
        <a:srgbClr val="FFFFFF"/>
      </a:lt1>
      <a:dk2>
        <a:srgbClr val="19204D"/>
      </a:dk2>
      <a:lt2>
        <a:srgbClr val="E7E6E6"/>
      </a:lt2>
      <a:accent1>
        <a:srgbClr val="7BBDE1"/>
      </a:accent1>
      <a:accent2>
        <a:srgbClr val="ED7D31"/>
      </a:accent2>
      <a:accent3>
        <a:srgbClr val="A5A5A5"/>
      </a:accent3>
      <a:accent4>
        <a:srgbClr val="FFC000"/>
      </a:accent4>
      <a:accent5>
        <a:srgbClr val="5B9BD5"/>
      </a:accent5>
      <a:accent6>
        <a:srgbClr val="70AD47"/>
      </a:accent6>
      <a:hlink>
        <a:srgbClr val="0089D8"/>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Office Theme">
  <a:themeElements>
    <a:clrScheme name="leg">
      <a:dk1>
        <a:sysClr val="windowText" lastClr="000000"/>
      </a:dk1>
      <a:lt1>
        <a:sysClr val="window" lastClr="FFFFFF"/>
      </a:lt1>
      <a:dk2>
        <a:srgbClr val="002576"/>
      </a:dk2>
      <a:lt2>
        <a:srgbClr val="61666F"/>
      </a:lt2>
      <a:accent1>
        <a:srgbClr val="CACCCF"/>
      </a:accent1>
      <a:accent2>
        <a:srgbClr val="00143F"/>
      </a:accent2>
      <a:accent3>
        <a:srgbClr val="96999F"/>
      </a:accent3>
      <a:accent4>
        <a:srgbClr val="2D333F"/>
      </a:accent4>
      <a:accent5>
        <a:srgbClr val="CCD1DC"/>
      </a:accent5>
      <a:accent6>
        <a:srgbClr val="FFC000"/>
      </a:accent6>
      <a:hlink>
        <a:srgbClr val="230E70"/>
      </a:hlink>
      <a:folHlink>
        <a:srgbClr val="572F43"/>
      </a:folHlink>
    </a:clrScheme>
    <a:fontScheme name="Custom 5">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solidFill>
            <a:schemeClr val="tx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miter lim="800000"/>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6727LQ_CF">
  <a:themeElements>
    <a:clrScheme name="Custom 5">
      <a:dk1>
        <a:srgbClr val="002476"/>
      </a:dk1>
      <a:lt1>
        <a:srgbClr val="FFFFFF"/>
      </a:lt1>
      <a:dk2>
        <a:srgbClr val="0A1F55"/>
      </a:dk2>
      <a:lt2>
        <a:srgbClr val="FFFFFF"/>
      </a:lt2>
      <a:accent1>
        <a:srgbClr val="7BBDE1"/>
      </a:accent1>
      <a:accent2>
        <a:srgbClr val="0089D8"/>
      </a:accent2>
      <a:accent3>
        <a:srgbClr val="00588B"/>
      </a:accent3>
      <a:accent4>
        <a:srgbClr val="0AA67D"/>
      </a:accent4>
      <a:accent5>
        <a:srgbClr val="EBA520"/>
      </a:accent5>
      <a:accent6>
        <a:srgbClr val="EF3B45"/>
      </a:accent6>
      <a:hlink>
        <a:srgbClr val="0089D8"/>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1B6B4E93-2224-41B0-A0DC-886DCE89EDD5}"/>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1B6B4E93-2224-41B0-A0DC-886DCE89EDD5}"/>
    </a:ext>
  </a:extLst>
</a:theme>
</file>

<file path=ppt/theme/theme4.xml><?xml version="1.0" encoding="utf-8"?>
<a:theme xmlns:a="http://schemas.openxmlformats.org/drawingml/2006/main" name="4_White">
  <a:themeElements>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1B6B4E93-2224-41B0-A0DC-886DCE89EDD5}"/>
    </a:ext>
  </a:extLst>
</a:theme>
</file>

<file path=ppt/theme/theme5.xml><?xml version="1.0" encoding="utf-8"?>
<a:theme xmlns:a="http://schemas.openxmlformats.org/drawingml/2006/main" name="Contrast">
  <a:themeElements>
    <a:clrScheme name="Scheme2">
      <a:dk1>
        <a:srgbClr val="FFFFFF"/>
      </a:dk1>
      <a:lt1>
        <a:srgbClr val="001D59"/>
      </a:lt1>
      <a:dk2>
        <a:srgbClr val="000000"/>
      </a:dk2>
      <a:lt2>
        <a:srgbClr val="000000"/>
      </a:lt2>
      <a:accent1>
        <a:srgbClr val="FFFFFF"/>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1D59"/>
        </a:lt1>
        <a:dk2>
          <a:srgbClr val="000000"/>
        </a:dk2>
        <a:lt2>
          <a:srgbClr val="000000"/>
        </a:lt2>
        <a:accent1>
          <a:srgbClr val="FFFFFF"/>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2883BFEB-B2C3-4360-A5F9-3661542D431C}"/>
    </a:ext>
  </a:extLst>
</a:theme>
</file>

<file path=ppt/theme/theme6.xml><?xml version="1.0" encoding="utf-8"?>
<a:theme xmlns:a="http://schemas.openxmlformats.org/drawingml/2006/main" name="2_White">
  <a:themeElements>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1B6B4E93-2224-41B0-A0DC-886DCE89EDD5}"/>
    </a:ext>
  </a:extLst>
</a:theme>
</file>

<file path=ppt/theme/theme7.xml><?xml version="1.0" encoding="utf-8"?>
<a:theme xmlns:a="http://schemas.openxmlformats.org/drawingml/2006/main" name="5_6727LQ_CF">
  <a:themeElements>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8.xml><?xml version="1.0" encoding="utf-8"?>
<a:theme xmlns:a="http://schemas.openxmlformats.org/drawingml/2006/main" name="3_6727LQ_CF">
  <a:themeElements>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9.xml><?xml version="1.0" encoding="utf-8"?>
<a:theme xmlns:a="http://schemas.openxmlformats.org/drawingml/2006/main" name="3_White">
  <a:themeElements>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1D59"/>
        </a:accent1>
        <a:accent2>
          <a:srgbClr val="144F94"/>
        </a:accent2>
        <a:accent3>
          <a:srgbClr val="2487BE"/>
        </a:accent3>
        <a:accent4>
          <a:srgbClr val="9CCFEC"/>
        </a:accent4>
        <a:accent5>
          <a:srgbClr val="ED7D31"/>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DT0773_OFF.potx" id="{CF82FABF-8C9D-4D72-B844-B34FC0136E22}" vid="{1B6B4E93-2224-41B0-A0DC-886DCE89EDD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98A9626B1C2CC4B88EDCBE405C12369" ma:contentTypeVersion="12" ma:contentTypeDescription="Create a new document." ma:contentTypeScope="" ma:versionID="3f689f8437b70e55a28b5f17497fa38f">
  <xsd:schema xmlns:xsd="http://www.w3.org/2001/XMLSchema" xmlns:xs="http://www.w3.org/2001/XMLSchema" xmlns:p="http://schemas.microsoft.com/office/2006/metadata/properties" xmlns:ns3="4d4a620a-e737-4417-afac-db5c1fbf57ee" xmlns:ns4="65980f76-1bff-46fb-a040-5d706da610a9" targetNamespace="http://schemas.microsoft.com/office/2006/metadata/properties" ma:root="true" ma:fieldsID="02f7d0e2aaf1bd8d973ad3273cbd820e" ns3:_="" ns4:_="">
    <xsd:import namespace="4d4a620a-e737-4417-afac-db5c1fbf57ee"/>
    <xsd:import namespace="65980f76-1bff-46fb-a040-5d706da610a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4a620a-e737-4417-afac-db5c1fbf57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980f76-1bff-46fb-a040-5d706da610a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EFB4F8-E09E-4C90-BAE9-C1D32B0E856D}">
  <ds:schemaRefs>
    <ds:schemaRef ds:uri="http://schemas.microsoft.com/sharepoint/v3/contenttype/forms"/>
  </ds:schemaRefs>
</ds:datastoreItem>
</file>

<file path=customXml/itemProps2.xml><?xml version="1.0" encoding="utf-8"?>
<ds:datastoreItem xmlns:ds="http://schemas.openxmlformats.org/officeDocument/2006/customXml" ds:itemID="{63AD7A52-45AD-4609-9508-B768C2C5A9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4a620a-e737-4417-afac-db5c1fbf57ee"/>
    <ds:schemaRef ds:uri="65980f76-1bff-46fb-a040-5d706da610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21835F-FE4E-4C39-B614-14CA5DB923D3}">
  <ds:schemaRefs>
    <ds:schemaRef ds:uri="http://schemas.microsoft.com/office/2006/metadata/properties"/>
    <ds:schemaRef ds:uri="4d4a620a-e737-4417-afac-db5c1fbf57ee"/>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openxmlformats.org/package/2006/metadata/core-properties"/>
    <ds:schemaRef ds:uri="65980f76-1bff-46fb-a040-5d706da610a9"/>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0461</TotalTime>
  <Words>4820</Words>
  <Application>Microsoft Macintosh PowerPoint</Application>
  <PresentationFormat>Widescreen</PresentationFormat>
  <Paragraphs>329</Paragraphs>
  <Slides>18</Slides>
  <Notes>18</Notes>
  <HiddenSlides>0</HiddenSlides>
  <MMClips>0</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18</vt:i4>
      </vt:variant>
    </vt:vector>
  </HeadingPairs>
  <TitlesOfParts>
    <vt:vector size="47" baseType="lpstr">
      <vt:lpstr>Arial</vt:lpstr>
      <vt:lpstr>Arial Black</vt:lpstr>
      <vt:lpstr>Arial Regular</vt:lpstr>
      <vt:lpstr>Avenir Next LT Pro</vt:lpstr>
      <vt:lpstr>Calibri</vt:lpstr>
      <vt:lpstr>Calibri Light</vt:lpstr>
      <vt:lpstr>Courier New</vt:lpstr>
      <vt:lpstr>Georgia</vt:lpstr>
      <vt:lpstr>inherit</vt:lpstr>
      <vt:lpstr>Montserrat</vt:lpstr>
      <vt:lpstr>Open Sans</vt:lpstr>
      <vt:lpstr>Segoe UI</vt:lpstr>
      <vt:lpstr>Symbol</vt:lpstr>
      <vt:lpstr>Wingdings</vt:lpstr>
      <vt:lpstr>2_Office Theme</vt:lpstr>
      <vt:lpstr>White</vt:lpstr>
      <vt:lpstr>1_White</vt:lpstr>
      <vt:lpstr>4_White</vt:lpstr>
      <vt:lpstr>Contrast</vt:lpstr>
      <vt:lpstr>2_White</vt:lpstr>
      <vt:lpstr>5_6727LQ_CF</vt:lpstr>
      <vt:lpstr>3_6727LQ_CF</vt:lpstr>
      <vt:lpstr>3_White</vt:lpstr>
      <vt:lpstr>6727LQ_CF</vt:lpstr>
      <vt:lpstr>Office Theme</vt:lpstr>
      <vt:lpstr>3_Office Theme</vt:lpstr>
      <vt:lpstr>1_Office Theme</vt:lpstr>
      <vt:lpstr>1_6727LQ_CF</vt:lpstr>
      <vt:lpstr>think-cell Slide</vt:lpstr>
      <vt:lpstr>BUILDING A CHAMPIONSHIP ECONOMY: A QUEST FOR GREATNESS</vt:lpstr>
      <vt:lpstr>PowerPoint Presentation</vt:lpstr>
      <vt:lpstr>PowerPoint Presentation</vt:lpstr>
      <vt:lpstr>THE WORLD IS DIFFERENT NOW THAN IT WAS PRE-COVID</vt:lpstr>
      <vt:lpstr>PowerPoint Presentation</vt:lpstr>
      <vt:lpstr>PowerPoint Presentation</vt:lpstr>
      <vt:lpstr>PowerPoint Presentation</vt:lpstr>
      <vt:lpstr>PowerPoint Presentation</vt:lpstr>
      <vt:lpstr>PowerPoint Presentation</vt:lpstr>
      <vt:lpstr>PowerPoint Presentation</vt:lpstr>
      <vt:lpstr>PHYSICAL AND KNOWLEDGE INFRASTRUCTURE: BARRIERS WE MUST ADDRESS TO WIN ON TALENT</vt:lpstr>
      <vt:lpstr>PHYSICAL AND KNOWLEDGE INFRASTUCTURE: MEDC’S TALENT ACTION TEAM</vt:lpstr>
      <vt:lpstr>PHYSICAL AND KNOWLEDGE INFRASTUCTURE: STRATEGIC SITE READINESS</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USE DEMOCRATIC CAUCUS: MEDC LUNCH &amp; LEARN</dc:title>
  <dc:creator>Katelyn Crain (MEDC)</dc:creator>
  <cp:lastModifiedBy>Kendra Miriani</cp:lastModifiedBy>
  <cp:revision>149</cp:revision>
  <dcterms:created xsi:type="dcterms:W3CDTF">2022-02-10T11:25:28Z</dcterms:created>
  <dcterms:modified xsi:type="dcterms:W3CDTF">2023-02-14T18:0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8A9626B1C2CC4B88EDCBE405C12369</vt:lpwstr>
  </property>
</Properties>
</file>